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38" r:id="rId1"/>
  </p:sldMasterIdLst>
  <p:notesMasterIdLst>
    <p:notesMasterId r:id="rId11"/>
  </p:notesMasterIdLst>
  <p:handoutMasterIdLst>
    <p:handoutMasterId r:id="rId12"/>
  </p:handoutMasterIdLst>
  <p:sldIdLst>
    <p:sldId id="317" r:id="rId2"/>
    <p:sldId id="318" r:id="rId3"/>
    <p:sldId id="319" r:id="rId4"/>
    <p:sldId id="320" r:id="rId5"/>
    <p:sldId id="321" r:id="rId6"/>
    <p:sldId id="322" r:id="rId7"/>
    <p:sldId id="323" r:id="rId8"/>
    <p:sldId id="324" r:id="rId9"/>
    <p:sldId id="325" r:id="rId10"/>
  </p:sldIdLst>
  <p:sldSz cx="10887075" cy="6858000"/>
  <p:notesSz cx="7099300" cy="10234613"/>
  <p:defaultTextStyle>
    <a:defPPr>
      <a:defRPr lang="de-DE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42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hilipp Keuter" initials="pk" lastIdx="1" clrIdx="0">
    <p:extLst>
      <p:ext uri="{19B8F6BF-5375-455C-9EA6-DF929625EA0E}">
        <p15:presenceInfo xmlns:p15="http://schemas.microsoft.com/office/powerpoint/2012/main" userId="Philipp Keuter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49F"/>
    <a:srgbClr val="407FB7"/>
    <a:srgbClr val="3779B4"/>
    <a:srgbClr val="000000"/>
    <a:srgbClr val="8CB2D4"/>
    <a:srgbClr val="81C05D"/>
    <a:srgbClr val="57AB27"/>
    <a:srgbClr val="FFA040"/>
    <a:srgbClr val="7F7F7F"/>
    <a:srgbClr val="52AD2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194" autoAdjust="0"/>
    <p:restoredTop sz="92324" autoAdjust="0"/>
  </p:normalViewPr>
  <p:slideViewPr>
    <p:cSldViewPr snapToGrid="0" showGuides="1">
      <p:cViewPr varScale="1">
        <p:scale>
          <a:sx n="102" d="100"/>
          <a:sy n="102" d="100"/>
        </p:scale>
        <p:origin x="894" y="102"/>
      </p:cViewPr>
      <p:guideLst>
        <p:guide orient="horz" pos="2160"/>
        <p:guide pos="3429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77" d="100"/>
          <a:sy n="77" d="100"/>
        </p:scale>
        <p:origin x="3930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commentAuthors" Target="commentAuthor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575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 dirty="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021138" y="0"/>
            <a:ext cx="3076575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0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D532B216-FB48-4476-99B1-91505F0D280E}" type="datetimeFigureOut">
              <a:rPr lang="de-DE"/>
              <a:pPr>
                <a:defRPr/>
              </a:pPr>
              <a:t>18.09.202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721850"/>
            <a:ext cx="3076575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 dirty="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4021138" y="9721850"/>
            <a:ext cx="3076575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0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1A747C4D-8D70-4DEA-B505-92F67D7554DE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55048925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575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 dirty="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021138" y="0"/>
            <a:ext cx="3076575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000" smtClean="0">
                <a:latin typeface="+mn-lt"/>
              </a:defRPr>
            </a:lvl1pPr>
          </a:lstStyle>
          <a:p>
            <a:pPr>
              <a:defRPr/>
            </a:pPr>
            <a:fld id="{ECEBF537-F9EB-412F-86F2-4525DCFFD06A}" type="datetimeFigureOut">
              <a:rPr lang="de-DE"/>
              <a:pPr>
                <a:defRPr/>
              </a:pPr>
              <a:t>18.09.2024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808038" y="1279525"/>
            <a:ext cx="5483225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de-DE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709613" y="4926013"/>
            <a:ext cx="5680075" cy="402907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noProof="0" dirty="0"/>
              <a:t>Textmasterformat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6575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 dirty="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021138" y="9721850"/>
            <a:ext cx="3076575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000" smtClean="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73165442-FCF1-4C01-AC0E-FA93DBD542BD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20761178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2645413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190732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_1/3 Farb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0" y="0"/>
            <a:ext cx="10887075" cy="231298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2900" tIns="0" rIns="34290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>
              <a:solidFill>
                <a:schemeClr val="bg1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295276" y="2487600"/>
            <a:ext cx="10296524" cy="5400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3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295276" y="2980800"/>
            <a:ext cx="10296524" cy="1655762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buNone/>
              <a:defRPr sz="2000">
                <a:solidFill>
                  <a:schemeClr val="tx1"/>
                </a:solidFill>
              </a:defRPr>
            </a:lvl1pPr>
            <a:lvl2pPr marL="544334" indent="0" algn="ctr">
              <a:buNone/>
              <a:defRPr sz="2381"/>
            </a:lvl2pPr>
            <a:lvl3pPr marL="1088669" indent="0" algn="ctr">
              <a:buNone/>
              <a:defRPr sz="2143"/>
            </a:lvl3pPr>
            <a:lvl4pPr marL="1633002" indent="0" algn="ctr">
              <a:buNone/>
              <a:defRPr sz="1905"/>
            </a:lvl4pPr>
            <a:lvl5pPr marL="2177336" indent="0" algn="ctr">
              <a:buNone/>
              <a:defRPr sz="1905"/>
            </a:lvl5pPr>
            <a:lvl6pPr marL="2721671" indent="0" algn="ctr">
              <a:buNone/>
              <a:defRPr sz="1905"/>
            </a:lvl6pPr>
            <a:lvl7pPr marL="3266005" indent="0" algn="ctr">
              <a:buNone/>
              <a:defRPr sz="1905"/>
            </a:lvl7pPr>
            <a:lvl8pPr marL="3810339" indent="0" algn="ctr">
              <a:buNone/>
              <a:defRPr sz="1905"/>
            </a:lvl8pPr>
            <a:lvl9pPr marL="4354673" indent="0" algn="ctr">
              <a:buNone/>
              <a:defRPr sz="1905"/>
            </a:lvl9pPr>
          </a:lstStyle>
          <a:p>
            <a:r>
              <a:rPr lang="de-DE" dirty="0"/>
              <a:t>Formatvorlage des Untertitelmasters durch Klicken bearbeiten</a:t>
            </a:r>
            <a:endParaRPr lang="en-US" dirty="0"/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3675" y="6044400"/>
            <a:ext cx="2795944" cy="81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2930086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5276" y="1152000"/>
            <a:ext cx="10296524" cy="252000"/>
          </a:xfrm>
          <a:prstGeom prst="rect">
            <a:avLst/>
          </a:prstGeom>
          <a:noFill/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000" b="1" i="0"/>
            </a:lvl1pPr>
            <a:lvl2pPr marL="257166" indent="214304">
              <a:buClr>
                <a:schemeClr val="tx2"/>
              </a:buClr>
              <a:defRPr sz="2143"/>
            </a:lvl2pPr>
            <a:lvl3pPr marL="514331" indent="214304">
              <a:buClr>
                <a:schemeClr val="tx2"/>
              </a:buClr>
              <a:buFont typeface="Symbol" panose="05050102010706020507" pitchFamily="18" charset="2"/>
              <a:buChar char="-"/>
              <a:defRPr sz="1905"/>
            </a:lvl3pPr>
            <a:lvl4pPr marL="771497" indent="214304">
              <a:buClr>
                <a:schemeClr val="tx2"/>
              </a:buClr>
              <a:buFont typeface="Wingdings" panose="05000000000000000000" pitchFamily="2" charset="2"/>
              <a:buChar char="§"/>
              <a:defRPr sz="1905"/>
            </a:lvl4pPr>
            <a:lvl5pPr marL="1028663" indent="214304">
              <a:buClr>
                <a:schemeClr val="tx2"/>
              </a:buClr>
              <a:buFont typeface="Arial" panose="020B0604020202020204" pitchFamily="34" charset="0"/>
              <a:buChar char="-"/>
              <a:defRPr sz="1905"/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295276" y="1684805"/>
            <a:ext cx="10296524" cy="433658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295276" y="201600"/>
            <a:ext cx="10296524" cy="5436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>
              <a:defRPr sz="2000" b="1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6767429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Text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/>
          <p:cNvSpPr>
            <a:spLocks noGrp="1"/>
          </p:cNvSpPr>
          <p:nvPr>
            <p:ph type="pic" sz="quarter" idx="15"/>
          </p:nvPr>
        </p:nvSpPr>
        <p:spPr>
          <a:xfrm>
            <a:off x="7281863" y="1684546"/>
            <a:ext cx="3309937" cy="4336841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5" name="Textplatzhalter 24"/>
          <p:cNvSpPr>
            <a:spLocks noGrp="1"/>
          </p:cNvSpPr>
          <p:nvPr>
            <p:ph type="body" sz="quarter" idx="11"/>
          </p:nvPr>
        </p:nvSpPr>
        <p:spPr>
          <a:xfrm>
            <a:off x="295276" y="1152000"/>
            <a:ext cx="10296524" cy="252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FontTx/>
              <a:buNone/>
              <a:defRPr sz="2000" b="1"/>
            </a:lvl1pPr>
            <a:lvl2pPr marL="544334" indent="0">
              <a:buFontTx/>
              <a:buNone/>
              <a:defRPr sz="2143"/>
            </a:lvl2pPr>
            <a:lvl3pPr marL="1088669" indent="0">
              <a:buFontTx/>
              <a:buNone/>
              <a:defRPr sz="2143"/>
            </a:lvl3pPr>
            <a:lvl4pPr marL="1633002" indent="0">
              <a:buFontTx/>
              <a:buNone/>
              <a:defRPr sz="2143"/>
            </a:lvl4pPr>
            <a:lvl5pPr marL="2177336" indent="0">
              <a:buFontTx/>
              <a:buNone/>
              <a:defRPr sz="2143"/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4" name="Textplatzhalter 11"/>
          <p:cNvSpPr>
            <a:spLocks noGrp="1"/>
          </p:cNvSpPr>
          <p:nvPr>
            <p:ph type="body" sz="quarter" idx="14"/>
          </p:nvPr>
        </p:nvSpPr>
        <p:spPr>
          <a:xfrm>
            <a:off x="295276" y="1684804"/>
            <a:ext cx="6725037" cy="4336584"/>
          </a:xfrm>
          <a:prstGeom prst="rect">
            <a:avLst/>
          </a:prstGeom>
        </p:spPr>
        <p:txBody>
          <a:bodyPr lIns="0" tIns="0" rIns="0" bIns="0"/>
          <a:lstStyle>
            <a:lvl2pPr>
              <a:defRPr sz="1600"/>
            </a:lvl2pPr>
            <a:lvl3pPr>
              <a:defRPr sz="1600"/>
            </a:lvl3pPr>
            <a:lvl4pPr>
              <a:defRPr sz="1600"/>
            </a:lvl4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295276" y="201600"/>
            <a:ext cx="10296524" cy="5436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>
              <a:defRPr sz="2000" b="1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6199622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/>
          <p:cNvSpPr>
            <a:spLocks noGrp="1"/>
          </p:cNvSpPr>
          <p:nvPr>
            <p:ph type="pic" sz="quarter" idx="14"/>
          </p:nvPr>
        </p:nvSpPr>
        <p:spPr>
          <a:xfrm>
            <a:off x="295274" y="1152525"/>
            <a:ext cx="10296525" cy="4064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295275" y="5359405"/>
            <a:ext cx="10296524" cy="49953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r">
              <a:buNone/>
              <a:defRPr sz="900"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295276" y="201600"/>
            <a:ext cx="10296524" cy="5436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>
              <a:defRPr sz="2000" b="1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5464980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24"/>
          <p:cNvSpPr>
            <a:spLocks noGrp="1"/>
          </p:cNvSpPr>
          <p:nvPr>
            <p:ph type="body" sz="quarter" idx="11"/>
          </p:nvPr>
        </p:nvSpPr>
        <p:spPr>
          <a:xfrm>
            <a:off x="295276" y="1152000"/>
            <a:ext cx="10296524" cy="252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FontTx/>
              <a:buNone/>
              <a:defRPr sz="2000" b="1"/>
            </a:lvl1pPr>
            <a:lvl2pPr marL="544334" indent="0">
              <a:buFontTx/>
              <a:buNone/>
              <a:defRPr sz="2143"/>
            </a:lvl2pPr>
            <a:lvl3pPr marL="1088669" indent="0">
              <a:buFontTx/>
              <a:buNone/>
              <a:defRPr sz="2143"/>
            </a:lvl3pPr>
            <a:lvl4pPr marL="1633002" indent="0">
              <a:buFontTx/>
              <a:buNone/>
              <a:defRPr sz="2143"/>
            </a:lvl4pPr>
            <a:lvl5pPr marL="2177336" indent="0">
              <a:buFontTx/>
              <a:buNone/>
              <a:defRPr sz="2143"/>
            </a:lvl5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9" name="Diagrammplatzhalter 8"/>
          <p:cNvSpPr>
            <a:spLocks noGrp="1"/>
          </p:cNvSpPr>
          <p:nvPr>
            <p:ph type="chart" sz="quarter" idx="13"/>
          </p:nvPr>
        </p:nvSpPr>
        <p:spPr>
          <a:xfrm>
            <a:off x="295276" y="1684800"/>
            <a:ext cx="10296524" cy="3632200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de-DE" noProof="0"/>
              <a:t>Diagramm durch Klicken auf Symbol hinzufügen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295276" y="201600"/>
            <a:ext cx="10296524" cy="5436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>
              <a:defRPr sz="2000" b="1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9427363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Gerader Verbinder 2"/>
          <p:cNvCxnSpPr/>
          <p:nvPr/>
        </p:nvCxnSpPr>
        <p:spPr>
          <a:xfrm>
            <a:off x="342115" y="6040438"/>
            <a:ext cx="1020285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1"/>
          <p:cNvSpPr txBox="1">
            <a:spLocks/>
          </p:cNvSpPr>
          <p:nvPr/>
        </p:nvSpPr>
        <p:spPr>
          <a:xfrm>
            <a:off x="304015" y="2487613"/>
            <a:ext cx="10287785" cy="1079500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 baseline="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ctr" fontAlgn="auto">
              <a:spcAft>
                <a:spcPts val="0"/>
              </a:spcAft>
              <a:defRPr/>
            </a:pPr>
            <a:r>
              <a:rPr lang="de-DE" sz="3200" dirty="0"/>
              <a:t>Vielen Dank</a:t>
            </a:r>
            <a:br>
              <a:rPr lang="de-DE" sz="3200" dirty="0"/>
            </a:br>
            <a:r>
              <a:rPr lang="de-DE" sz="3200" dirty="0"/>
              <a:t>für Ihre Aufmerksamkeit!</a:t>
            </a:r>
            <a:endParaRPr lang="en-US" sz="3200" dirty="0"/>
          </a:p>
        </p:txBody>
      </p:sp>
      <p:sp>
        <p:nvSpPr>
          <p:cNvPr id="9" name="Textplatzhalter 24"/>
          <p:cNvSpPr>
            <a:spLocks noGrp="1"/>
          </p:cNvSpPr>
          <p:nvPr>
            <p:ph type="body" sz="quarter" idx="11"/>
          </p:nvPr>
        </p:nvSpPr>
        <p:spPr>
          <a:xfrm>
            <a:off x="304803" y="3988800"/>
            <a:ext cx="10286997" cy="1656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 b="0"/>
            </a:lvl1pPr>
            <a:lvl2pPr marL="544334" indent="0">
              <a:buFontTx/>
              <a:buNone/>
              <a:defRPr sz="2143"/>
            </a:lvl2pPr>
            <a:lvl3pPr marL="1088669" indent="0">
              <a:buFontTx/>
              <a:buNone/>
              <a:defRPr sz="2143"/>
            </a:lvl3pPr>
            <a:lvl4pPr marL="1633002" indent="0">
              <a:buFontTx/>
              <a:buNone/>
              <a:defRPr sz="2143"/>
            </a:lvl4pPr>
            <a:lvl5pPr marL="2177336" indent="0">
              <a:buFontTx/>
              <a:buNone/>
              <a:defRPr sz="2143"/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3675" y="6044400"/>
            <a:ext cx="2795944" cy="81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5472565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Ab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Gerader Verbinder 2"/>
          <p:cNvCxnSpPr/>
          <p:nvPr/>
        </p:nvCxnSpPr>
        <p:spPr>
          <a:xfrm>
            <a:off x="342115" y="6040438"/>
            <a:ext cx="1020285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1"/>
          <p:cNvSpPr txBox="1">
            <a:spLocks/>
          </p:cNvSpPr>
          <p:nvPr/>
        </p:nvSpPr>
        <p:spPr>
          <a:xfrm>
            <a:off x="304015" y="2487613"/>
            <a:ext cx="10287785" cy="1079500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 baseline="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ctr" fontAlgn="auto">
              <a:spcAft>
                <a:spcPts val="0"/>
              </a:spcAft>
              <a:defRPr/>
            </a:pPr>
            <a:r>
              <a:rPr lang="de-DE" sz="3200" dirty="0"/>
              <a:t>The END</a:t>
            </a:r>
            <a:endParaRPr lang="en-US" sz="3200" dirty="0"/>
          </a:p>
        </p:txBody>
      </p:sp>
      <p:sp>
        <p:nvSpPr>
          <p:cNvPr id="9" name="Textplatzhalter 24"/>
          <p:cNvSpPr>
            <a:spLocks noGrp="1"/>
          </p:cNvSpPr>
          <p:nvPr>
            <p:ph type="body" sz="quarter" idx="11"/>
          </p:nvPr>
        </p:nvSpPr>
        <p:spPr>
          <a:xfrm>
            <a:off x="304803" y="3988800"/>
            <a:ext cx="10286997" cy="1656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 b="0"/>
            </a:lvl1pPr>
            <a:lvl2pPr marL="544334" indent="0">
              <a:buFontTx/>
              <a:buNone/>
              <a:defRPr sz="2143"/>
            </a:lvl2pPr>
            <a:lvl3pPr marL="1088669" indent="0">
              <a:buFontTx/>
              <a:buNone/>
              <a:defRPr sz="2143"/>
            </a:lvl3pPr>
            <a:lvl4pPr marL="1633002" indent="0">
              <a:buFontTx/>
              <a:buNone/>
              <a:defRPr sz="2143"/>
            </a:lvl4pPr>
            <a:lvl5pPr marL="2177336" indent="0">
              <a:buFontTx/>
              <a:buNone/>
              <a:defRPr sz="2143"/>
            </a:lvl5pPr>
          </a:lstStyle>
          <a:p>
            <a:pPr lvl="0"/>
            <a:endParaRPr lang="de-DE" dirty="0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3675" y="6044400"/>
            <a:ext cx="2795944" cy="81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3461995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b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17153458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_1/3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0887075" cy="22987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295276" y="2487600"/>
            <a:ext cx="10296524" cy="5400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3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295276" y="2980800"/>
            <a:ext cx="10296524" cy="1655762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buNone/>
              <a:defRPr sz="2000">
                <a:solidFill>
                  <a:schemeClr val="tx1"/>
                </a:solidFill>
              </a:defRPr>
            </a:lvl1pPr>
            <a:lvl2pPr marL="544334" indent="0" algn="ctr">
              <a:buNone/>
              <a:defRPr sz="2381"/>
            </a:lvl2pPr>
            <a:lvl3pPr marL="1088669" indent="0" algn="ctr">
              <a:buNone/>
              <a:defRPr sz="2143"/>
            </a:lvl3pPr>
            <a:lvl4pPr marL="1633002" indent="0" algn="ctr">
              <a:buNone/>
              <a:defRPr sz="1905"/>
            </a:lvl4pPr>
            <a:lvl5pPr marL="2177336" indent="0" algn="ctr">
              <a:buNone/>
              <a:defRPr sz="1905"/>
            </a:lvl5pPr>
            <a:lvl6pPr marL="2721671" indent="0" algn="ctr">
              <a:buNone/>
              <a:defRPr sz="1905"/>
            </a:lvl6pPr>
            <a:lvl7pPr marL="3266005" indent="0" algn="ctr">
              <a:buNone/>
              <a:defRPr sz="1905"/>
            </a:lvl7pPr>
            <a:lvl8pPr marL="3810339" indent="0" algn="ctr">
              <a:buNone/>
              <a:defRPr sz="1905"/>
            </a:lvl8pPr>
            <a:lvl9pPr marL="4354673" indent="0" algn="ctr">
              <a:buNone/>
              <a:defRPr sz="1905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3675" y="6044400"/>
            <a:ext cx="2795944" cy="81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788653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_2/3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2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0887075" cy="45339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295276" y="4737600"/>
            <a:ext cx="10296524" cy="5400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3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>
          <a:xfrm>
            <a:off x="295276" y="5230805"/>
            <a:ext cx="10296524" cy="81281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buNone/>
              <a:defRPr sz="2000">
                <a:solidFill>
                  <a:schemeClr val="tx1"/>
                </a:solidFill>
              </a:defRPr>
            </a:lvl1pPr>
            <a:lvl2pPr marL="544334" indent="0" algn="ctr">
              <a:buNone/>
              <a:defRPr sz="2381"/>
            </a:lvl2pPr>
            <a:lvl3pPr marL="1088669" indent="0" algn="ctr">
              <a:buNone/>
              <a:defRPr sz="2143"/>
            </a:lvl3pPr>
            <a:lvl4pPr marL="1633002" indent="0" algn="ctr">
              <a:buNone/>
              <a:defRPr sz="1905"/>
            </a:lvl4pPr>
            <a:lvl5pPr marL="2177336" indent="0" algn="ctr">
              <a:buNone/>
              <a:defRPr sz="1905"/>
            </a:lvl5pPr>
            <a:lvl6pPr marL="2721671" indent="0" algn="ctr">
              <a:buNone/>
              <a:defRPr sz="1905"/>
            </a:lvl6pPr>
            <a:lvl7pPr marL="3266005" indent="0" algn="ctr">
              <a:buNone/>
              <a:defRPr sz="1905"/>
            </a:lvl7pPr>
            <a:lvl8pPr marL="3810339" indent="0" algn="ctr">
              <a:buNone/>
              <a:defRPr sz="1905"/>
            </a:lvl8pPr>
            <a:lvl9pPr marL="4354673" indent="0" algn="ctr">
              <a:buNone/>
              <a:defRPr sz="1905"/>
            </a:lvl9pPr>
          </a:lstStyle>
          <a:p>
            <a:r>
              <a:rPr lang="de-DE" dirty="0"/>
              <a:t>Formatvorlage des Untertitelmasters durch Klicken bearbeiten</a:t>
            </a:r>
            <a:endParaRPr lang="en-US" dirty="0"/>
          </a:p>
        </p:txBody>
      </p:sp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3675" y="6044400"/>
            <a:ext cx="2795944" cy="81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8087008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Gerader Verbinder 3"/>
          <p:cNvCxnSpPr/>
          <p:nvPr/>
        </p:nvCxnSpPr>
        <p:spPr>
          <a:xfrm>
            <a:off x="342115" y="6040438"/>
            <a:ext cx="1020285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295276" y="2487600"/>
            <a:ext cx="10309224" cy="5400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3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295276" y="2980800"/>
            <a:ext cx="10296524" cy="1655762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buNone/>
              <a:defRPr sz="2000">
                <a:solidFill>
                  <a:schemeClr val="tx1"/>
                </a:solidFill>
              </a:defRPr>
            </a:lvl1pPr>
            <a:lvl2pPr marL="544334" indent="0" algn="ctr">
              <a:buNone/>
              <a:defRPr sz="2381"/>
            </a:lvl2pPr>
            <a:lvl3pPr marL="1088669" indent="0" algn="ctr">
              <a:buNone/>
              <a:defRPr sz="2143"/>
            </a:lvl3pPr>
            <a:lvl4pPr marL="1633002" indent="0" algn="ctr">
              <a:buNone/>
              <a:defRPr sz="1905"/>
            </a:lvl4pPr>
            <a:lvl5pPr marL="2177336" indent="0" algn="ctr">
              <a:buNone/>
              <a:defRPr sz="1905"/>
            </a:lvl5pPr>
            <a:lvl6pPr marL="2721671" indent="0" algn="ctr">
              <a:buNone/>
              <a:defRPr sz="1905"/>
            </a:lvl6pPr>
            <a:lvl7pPr marL="3266005" indent="0" algn="ctr">
              <a:buNone/>
              <a:defRPr sz="1905"/>
            </a:lvl7pPr>
            <a:lvl8pPr marL="3810339" indent="0" algn="ctr">
              <a:buNone/>
              <a:defRPr sz="1905"/>
            </a:lvl8pPr>
            <a:lvl9pPr marL="4354673" indent="0" algn="ctr">
              <a:buNone/>
              <a:defRPr sz="1905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3675" y="6044400"/>
            <a:ext cx="2795944" cy="81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6094102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_mittig, horizontale Li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Gerader Verbinder 3"/>
          <p:cNvCxnSpPr/>
          <p:nvPr/>
        </p:nvCxnSpPr>
        <p:spPr>
          <a:xfrm>
            <a:off x="295276" y="3027600"/>
            <a:ext cx="10296524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295276" y="2487600"/>
            <a:ext cx="10296524" cy="5400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3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295276" y="3196800"/>
            <a:ext cx="10296524" cy="1655762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buNone/>
              <a:defRPr sz="2000">
                <a:solidFill>
                  <a:schemeClr val="tx1"/>
                </a:solidFill>
              </a:defRPr>
            </a:lvl1pPr>
            <a:lvl2pPr marL="544334" indent="0" algn="ctr">
              <a:buNone/>
              <a:defRPr sz="2381"/>
            </a:lvl2pPr>
            <a:lvl3pPr marL="1088669" indent="0" algn="ctr">
              <a:buNone/>
              <a:defRPr sz="2143"/>
            </a:lvl3pPr>
            <a:lvl4pPr marL="1633002" indent="0" algn="ctr">
              <a:buNone/>
              <a:defRPr sz="1905"/>
            </a:lvl4pPr>
            <a:lvl5pPr marL="2177336" indent="0" algn="ctr">
              <a:buNone/>
              <a:defRPr sz="1905"/>
            </a:lvl5pPr>
            <a:lvl6pPr marL="2721671" indent="0" algn="ctr">
              <a:buNone/>
              <a:defRPr sz="1905"/>
            </a:lvl6pPr>
            <a:lvl7pPr marL="3266005" indent="0" algn="ctr">
              <a:buNone/>
              <a:defRPr sz="1905"/>
            </a:lvl7pPr>
            <a:lvl8pPr marL="3810339" indent="0" algn="ctr">
              <a:buNone/>
              <a:defRPr sz="1905"/>
            </a:lvl8pPr>
            <a:lvl9pPr marL="4354673" indent="0" algn="ctr">
              <a:buNone/>
              <a:defRPr sz="1905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3675" y="6044400"/>
            <a:ext cx="2795944" cy="81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1703254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Aufzäh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201600"/>
            <a:ext cx="10296524" cy="5436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>
              <a:defRPr sz="2000" b="1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25" name="Textplatzhalter 24"/>
          <p:cNvSpPr>
            <a:spLocks noGrp="1"/>
          </p:cNvSpPr>
          <p:nvPr>
            <p:ph type="body" sz="quarter" idx="11"/>
          </p:nvPr>
        </p:nvSpPr>
        <p:spPr>
          <a:xfrm>
            <a:off x="295276" y="1152000"/>
            <a:ext cx="10296524" cy="252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FontTx/>
              <a:buNone/>
              <a:defRPr sz="2000" b="1"/>
            </a:lvl1pPr>
            <a:lvl2pPr marL="544334" indent="0">
              <a:buFontTx/>
              <a:buNone/>
              <a:defRPr sz="2143"/>
            </a:lvl2pPr>
            <a:lvl3pPr marL="1088669" indent="0">
              <a:buFontTx/>
              <a:buNone/>
              <a:defRPr sz="2143"/>
            </a:lvl3pPr>
            <a:lvl4pPr marL="1633002" indent="0">
              <a:buFontTx/>
              <a:buNone/>
              <a:defRPr sz="2143"/>
            </a:lvl4pPr>
            <a:lvl5pPr marL="2177336" indent="0">
              <a:buFontTx/>
              <a:buNone/>
              <a:defRPr sz="2143"/>
            </a:lvl5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3"/>
          </p:nvPr>
        </p:nvSpPr>
        <p:spPr>
          <a:xfrm>
            <a:off x="295276" y="1684800"/>
            <a:ext cx="10296524" cy="4336588"/>
          </a:xfrm>
          <a:prstGeom prst="rect">
            <a:avLst/>
          </a:prstGeom>
        </p:spPr>
        <p:txBody>
          <a:bodyPr lIns="0" tIns="0" rIns="0" bIns="0"/>
          <a:lstStyle>
            <a:lvl2pPr>
              <a:defRPr sz="1600"/>
            </a:lvl2pPr>
            <a:lvl3pPr>
              <a:defRPr sz="1600"/>
            </a:lvl3pPr>
            <a:lvl4pPr>
              <a:defRPr sz="1600"/>
            </a:lvl4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3731086635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nhalt_Aufzäh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201600"/>
            <a:ext cx="10296524" cy="5436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>
              <a:defRPr sz="2000" b="1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25" name="Textplatzhalter 24"/>
          <p:cNvSpPr>
            <a:spLocks noGrp="1"/>
          </p:cNvSpPr>
          <p:nvPr>
            <p:ph type="body" sz="quarter" idx="11"/>
          </p:nvPr>
        </p:nvSpPr>
        <p:spPr>
          <a:xfrm>
            <a:off x="295276" y="1152000"/>
            <a:ext cx="5057774" cy="252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FontTx/>
              <a:buNone/>
              <a:defRPr sz="2000" b="1"/>
            </a:lvl1pPr>
            <a:lvl2pPr marL="544334" indent="0">
              <a:buFontTx/>
              <a:buNone/>
              <a:defRPr sz="2143"/>
            </a:lvl2pPr>
            <a:lvl3pPr marL="1088669" indent="0">
              <a:buFontTx/>
              <a:buNone/>
              <a:defRPr sz="2143"/>
            </a:lvl3pPr>
            <a:lvl4pPr marL="1633002" indent="0">
              <a:buFontTx/>
              <a:buNone/>
              <a:defRPr sz="2143"/>
            </a:lvl4pPr>
            <a:lvl5pPr marL="2177336" indent="0">
              <a:buFontTx/>
              <a:buNone/>
              <a:defRPr sz="2143"/>
            </a:lvl5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3"/>
          </p:nvPr>
        </p:nvSpPr>
        <p:spPr>
          <a:xfrm>
            <a:off x="295276" y="1684800"/>
            <a:ext cx="5057774" cy="4336588"/>
          </a:xfrm>
          <a:prstGeom prst="rect">
            <a:avLst/>
          </a:prstGeom>
        </p:spPr>
        <p:txBody>
          <a:bodyPr lIns="0" tIns="0" rIns="0" bIns="0"/>
          <a:lstStyle>
            <a:lvl2pPr>
              <a:defRPr sz="1600"/>
            </a:lvl2pPr>
            <a:lvl3pPr>
              <a:defRPr sz="1600"/>
            </a:lvl3pPr>
            <a:lvl4pPr>
              <a:defRPr sz="1600"/>
            </a:lvl4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5" name="Textplatzhalter 24"/>
          <p:cNvSpPr>
            <a:spLocks noGrp="1"/>
          </p:cNvSpPr>
          <p:nvPr>
            <p:ph type="body" sz="quarter" idx="14"/>
          </p:nvPr>
        </p:nvSpPr>
        <p:spPr>
          <a:xfrm>
            <a:off x="5534026" y="1152000"/>
            <a:ext cx="5057774" cy="252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FontTx/>
              <a:buNone/>
              <a:defRPr sz="2000" b="1"/>
            </a:lvl1pPr>
            <a:lvl2pPr marL="544334" indent="0">
              <a:buFontTx/>
              <a:buNone/>
              <a:defRPr sz="2143"/>
            </a:lvl2pPr>
            <a:lvl3pPr marL="1088669" indent="0">
              <a:buFontTx/>
              <a:buNone/>
              <a:defRPr sz="2143"/>
            </a:lvl3pPr>
            <a:lvl4pPr marL="1633002" indent="0">
              <a:buFontTx/>
              <a:buNone/>
              <a:defRPr sz="2143"/>
            </a:lvl4pPr>
            <a:lvl5pPr marL="2177336" indent="0">
              <a:buFontTx/>
              <a:buNone/>
              <a:defRPr sz="2143"/>
            </a:lvl5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6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5534026" y="1684800"/>
            <a:ext cx="5057774" cy="4336588"/>
          </a:xfrm>
          <a:prstGeom prst="rect">
            <a:avLst/>
          </a:prstGeom>
        </p:spPr>
        <p:txBody>
          <a:bodyPr lIns="0" tIns="0" rIns="0" bIns="0"/>
          <a:lstStyle>
            <a:lvl2pPr>
              <a:defRPr sz="1600"/>
            </a:lvl2pPr>
            <a:lvl3pPr>
              <a:defRPr sz="1600"/>
            </a:lvl3pPr>
            <a:lvl4pPr>
              <a:defRPr sz="1600"/>
            </a:lvl4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4200978274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halt_Aufzäh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201600"/>
            <a:ext cx="10296524" cy="5436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>
              <a:defRPr sz="2000" b="1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3"/>
          </p:nvPr>
        </p:nvSpPr>
        <p:spPr>
          <a:xfrm>
            <a:off x="295276" y="1152000"/>
            <a:ext cx="10296524" cy="4869388"/>
          </a:xfrm>
          <a:prstGeom prst="rect">
            <a:avLst/>
          </a:prstGeom>
        </p:spPr>
        <p:txBody>
          <a:bodyPr lIns="0" tIns="0" rIns="0" bIns="0"/>
          <a:lstStyle>
            <a:lvl2pPr>
              <a:defRPr sz="1600"/>
            </a:lvl2pPr>
            <a:lvl3pPr>
              <a:defRPr sz="1600"/>
            </a:lvl3pPr>
            <a:lvl4pPr>
              <a:defRPr sz="1600"/>
            </a:lvl4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1826600858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Inhalt_Aufzäh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201600"/>
            <a:ext cx="10296524" cy="5436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>
              <a:defRPr sz="2000" b="1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3"/>
          </p:nvPr>
        </p:nvSpPr>
        <p:spPr>
          <a:xfrm>
            <a:off x="295276" y="1152000"/>
            <a:ext cx="5058000" cy="4869388"/>
          </a:xfrm>
          <a:prstGeom prst="rect">
            <a:avLst/>
          </a:prstGeom>
        </p:spPr>
        <p:txBody>
          <a:bodyPr lIns="0" tIns="0" rIns="0" bIns="0"/>
          <a:lstStyle>
            <a:lvl2pPr>
              <a:defRPr sz="1600"/>
            </a:lvl2pPr>
            <a:lvl3pPr>
              <a:defRPr sz="1600"/>
            </a:lvl3pPr>
            <a:lvl4pPr>
              <a:defRPr sz="1600"/>
            </a:lvl4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4" name="Textplatzhalter 11"/>
          <p:cNvSpPr>
            <a:spLocks noGrp="1"/>
          </p:cNvSpPr>
          <p:nvPr>
            <p:ph type="body" sz="quarter" idx="14"/>
          </p:nvPr>
        </p:nvSpPr>
        <p:spPr>
          <a:xfrm>
            <a:off x="5533800" y="1152000"/>
            <a:ext cx="5058000" cy="4869388"/>
          </a:xfrm>
          <a:prstGeom prst="rect">
            <a:avLst/>
          </a:prstGeom>
        </p:spPr>
        <p:txBody>
          <a:bodyPr lIns="0" tIns="0" rIns="0" bIns="0"/>
          <a:lstStyle>
            <a:lvl2pPr>
              <a:defRPr sz="1600"/>
            </a:lvl2pPr>
            <a:lvl3pPr>
              <a:defRPr sz="1600"/>
            </a:lvl3pPr>
            <a:lvl4pPr>
              <a:defRPr sz="1600"/>
            </a:lvl4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2286408434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5"/>
          <p:cNvSpPr txBox="1">
            <a:spLocks/>
          </p:cNvSpPr>
          <p:nvPr/>
        </p:nvSpPr>
        <p:spPr>
          <a:xfrm>
            <a:off x="1122362" y="6227763"/>
            <a:ext cx="6753687" cy="630237"/>
          </a:xfrm>
          <a:prstGeom prst="rect">
            <a:avLst/>
          </a:prstGeom>
          <a:ln>
            <a:noFill/>
          </a:ln>
        </p:spPr>
        <p:txBody>
          <a:bodyPr lIns="0" tIns="0" rIns="0" bIns="0"/>
          <a:lstStyle>
            <a:defPPr>
              <a:defRPr lang="de-DE"/>
            </a:defPPr>
            <a:lvl1pPr marL="0" algn="l" defTabSz="914400" rtl="0" eaLnBrk="1" latinLnBrk="0" hangingPunct="1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200" dirty="0"/>
              <a:t>Name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200" dirty="0"/>
              <a:t>Title</a:t>
            </a:r>
          </a:p>
        </p:txBody>
      </p:sp>
      <p:cxnSp>
        <p:nvCxnSpPr>
          <p:cNvPr id="11" name="Gerader Verbinder 10"/>
          <p:cNvCxnSpPr/>
          <p:nvPr/>
        </p:nvCxnSpPr>
        <p:spPr>
          <a:xfrm>
            <a:off x="295275" y="809625"/>
            <a:ext cx="1029652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/>
        </p:nvCxnSpPr>
        <p:spPr>
          <a:xfrm>
            <a:off x="295275" y="6040438"/>
            <a:ext cx="1029652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1" name="Textfeld 14"/>
          <p:cNvSpPr txBox="1">
            <a:spLocks noChangeArrowheads="1"/>
          </p:cNvSpPr>
          <p:nvPr/>
        </p:nvSpPr>
        <p:spPr bwMode="auto">
          <a:xfrm>
            <a:off x="295275" y="6227768"/>
            <a:ext cx="827088" cy="395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958329F7-F3CA-4AFA-AD00-09F261A6CF8B}" type="slidenum">
              <a:rPr lang="de-DE" altLang="de-DE" sz="1200">
                <a:solidFill>
                  <a:schemeClr val="tx2"/>
                </a:solidFill>
              </a:rPr>
              <a:pPr/>
              <a:t>‹#›</a:t>
            </a:fld>
            <a:endParaRPr lang="de-DE" altLang="de-DE" sz="1200" dirty="0">
              <a:solidFill>
                <a:schemeClr val="tx2"/>
              </a:solidFill>
            </a:endParaRPr>
          </a:p>
        </p:txBody>
      </p:sp>
      <p:pic>
        <p:nvPicPr>
          <p:cNvPr id="2" name="Grafik 1"/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3675" y="6044400"/>
            <a:ext cx="2795944" cy="8136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82" r:id="rId1"/>
    <p:sldLayoutId id="2147483783" r:id="rId2"/>
    <p:sldLayoutId id="2147483784" r:id="rId3"/>
    <p:sldLayoutId id="2147483785" r:id="rId4"/>
    <p:sldLayoutId id="2147483786" r:id="rId5"/>
    <p:sldLayoutId id="2147483779" r:id="rId6"/>
    <p:sldLayoutId id="2147483791" r:id="rId7"/>
    <p:sldLayoutId id="2147483790" r:id="rId8"/>
    <p:sldLayoutId id="2147483792" r:id="rId9"/>
    <p:sldLayoutId id="2147483780" r:id="rId10"/>
    <p:sldLayoutId id="2147483787" r:id="rId11"/>
    <p:sldLayoutId id="2147483788" r:id="rId12"/>
    <p:sldLayoutId id="2147483781" r:id="rId13"/>
    <p:sldLayoutId id="2147483789" r:id="rId14"/>
    <p:sldLayoutId id="2147483794" r:id="rId15"/>
    <p:sldLayoutId id="2147483793" r:id="rId16"/>
  </p:sldLayoutIdLst>
  <p:transition>
    <p:fade/>
  </p:transition>
  <p:hf sldNum="0"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239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239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239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239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239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544334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239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1088669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239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633002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239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2177336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239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257047" indent="-257047" algn="l" defTabSz="25704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•"/>
        <a:tabLst>
          <a:tab pos="257047" algn="l"/>
        </a:tabLst>
        <a:defRPr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14093" indent="-257047" algn="l" rtl="0" eaLnBrk="1" fontAlgn="base" hangingPunct="1">
        <a:spcBef>
          <a:spcPct val="0"/>
        </a:spcBef>
        <a:spcAft>
          <a:spcPct val="0"/>
        </a:spcAft>
        <a:buClr>
          <a:schemeClr val="tx2"/>
        </a:buClr>
        <a:buFont typeface="Symbol" panose="05050102010706020507" pitchFamily="18" charset="2"/>
        <a:buChar char="-"/>
        <a:tabLst>
          <a:tab pos="514093" algn="l"/>
        </a:tabLst>
        <a:defRPr sz="1905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771141" indent="-257047" algn="l" defTabSz="25704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0000"/>
        <a:buFont typeface="Wingdings" panose="05000000000000000000" pitchFamily="2" charset="2"/>
        <a:buChar char="§"/>
        <a:tabLst>
          <a:tab pos="771141" algn="l"/>
        </a:tabLst>
        <a:defRPr sz="1905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028187" indent="-257047" algn="l" defTabSz="25704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panose="020B0604020202020204" pitchFamily="34" charset="0"/>
        <a:buChar char="-"/>
        <a:tabLst>
          <a:tab pos="1028187" algn="l"/>
        </a:tabLst>
        <a:defRPr sz="1905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028187" indent="-257047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-"/>
        <a:tabLst>
          <a:tab pos="1065988" algn="l"/>
        </a:tabLst>
        <a:defRPr sz="1905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993838" indent="-272166" algn="l" defTabSz="1088669" rtl="0" eaLnBrk="1" latinLnBrk="0" hangingPunct="1">
        <a:lnSpc>
          <a:spcPct val="90000"/>
        </a:lnSpc>
        <a:spcBef>
          <a:spcPts val="595"/>
        </a:spcBef>
        <a:buFont typeface="Arial" panose="020B0604020202020204" pitchFamily="34" charset="0"/>
        <a:buChar char="•"/>
        <a:defRPr sz="2143" kern="1200">
          <a:solidFill>
            <a:schemeClr val="tx1"/>
          </a:solidFill>
          <a:latin typeface="+mn-lt"/>
          <a:ea typeface="+mn-ea"/>
          <a:cs typeface="+mn-cs"/>
        </a:defRPr>
      </a:lvl6pPr>
      <a:lvl7pPr marL="3538172" indent="-272166" algn="l" defTabSz="1088669" rtl="0" eaLnBrk="1" latinLnBrk="0" hangingPunct="1">
        <a:lnSpc>
          <a:spcPct val="90000"/>
        </a:lnSpc>
        <a:spcBef>
          <a:spcPts val="595"/>
        </a:spcBef>
        <a:buFont typeface="Arial" panose="020B0604020202020204" pitchFamily="34" charset="0"/>
        <a:buChar char="•"/>
        <a:defRPr sz="2143" kern="1200">
          <a:solidFill>
            <a:schemeClr val="tx1"/>
          </a:solidFill>
          <a:latin typeface="+mn-lt"/>
          <a:ea typeface="+mn-ea"/>
          <a:cs typeface="+mn-cs"/>
        </a:defRPr>
      </a:lvl7pPr>
      <a:lvl8pPr marL="4082505" indent="-272166" algn="l" defTabSz="1088669" rtl="0" eaLnBrk="1" latinLnBrk="0" hangingPunct="1">
        <a:lnSpc>
          <a:spcPct val="90000"/>
        </a:lnSpc>
        <a:spcBef>
          <a:spcPts val="595"/>
        </a:spcBef>
        <a:buFont typeface="Arial" panose="020B0604020202020204" pitchFamily="34" charset="0"/>
        <a:buChar char="•"/>
        <a:defRPr sz="2143" kern="1200">
          <a:solidFill>
            <a:schemeClr val="tx1"/>
          </a:solidFill>
          <a:latin typeface="+mn-lt"/>
          <a:ea typeface="+mn-ea"/>
          <a:cs typeface="+mn-cs"/>
        </a:defRPr>
      </a:lvl8pPr>
      <a:lvl9pPr marL="4626841" indent="-272166" algn="l" defTabSz="1088669" rtl="0" eaLnBrk="1" latinLnBrk="0" hangingPunct="1">
        <a:lnSpc>
          <a:spcPct val="90000"/>
        </a:lnSpc>
        <a:spcBef>
          <a:spcPts val="595"/>
        </a:spcBef>
        <a:buFont typeface="Arial" panose="020B0604020202020204" pitchFamily="34" charset="0"/>
        <a:buChar char="•"/>
        <a:defRPr sz="214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88669" rtl="0" eaLnBrk="1" latinLnBrk="0" hangingPunct="1">
        <a:defRPr sz="2143" kern="1200">
          <a:solidFill>
            <a:schemeClr val="tx1"/>
          </a:solidFill>
          <a:latin typeface="+mn-lt"/>
          <a:ea typeface="+mn-ea"/>
          <a:cs typeface="+mn-cs"/>
        </a:defRPr>
      </a:lvl1pPr>
      <a:lvl2pPr marL="544334" algn="l" defTabSz="1088669" rtl="0" eaLnBrk="1" latinLnBrk="0" hangingPunct="1">
        <a:defRPr sz="2143" kern="1200">
          <a:solidFill>
            <a:schemeClr val="tx1"/>
          </a:solidFill>
          <a:latin typeface="+mn-lt"/>
          <a:ea typeface="+mn-ea"/>
          <a:cs typeface="+mn-cs"/>
        </a:defRPr>
      </a:lvl2pPr>
      <a:lvl3pPr marL="1088669" algn="l" defTabSz="1088669" rtl="0" eaLnBrk="1" latinLnBrk="0" hangingPunct="1">
        <a:defRPr sz="2143" kern="1200">
          <a:solidFill>
            <a:schemeClr val="tx1"/>
          </a:solidFill>
          <a:latin typeface="+mn-lt"/>
          <a:ea typeface="+mn-ea"/>
          <a:cs typeface="+mn-cs"/>
        </a:defRPr>
      </a:lvl3pPr>
      <a:lvl4pPr marL="1633002" algn="l" defTabSz="1088669" rtl="0" eaLnBrk="1" latinLnBrk="0" hangingPunct="1">
        <a:defRPr sz="2143" kern="1200">
          <a:solidFill>
            <a:schemeClr val="tx1"/>
          </a:solidFill>
          <a:latin typeface="+mn-lt"/>
          <a:ea typeface="+mn-ea"/>
          <a:cs typeface="+mn-cs"/>
        </a:defRPr>
      </a:lvl4pPr>
      <a:lvl5pPr marL="2177336" algn="l" defTabSz="1088669" rtl="0" eaLnBrk="1" latinLnBrk="0" hangingPunct="1">
        <a:defRPr sz="2143" kern="1200">
          <a:solidFill>
            <a:schemeClr val="tx1"/>
          </a:solidFill>
          <a:latin typeface="+mn-lt"/>
          <a:ea typeface="+mn-ea"/>
          <a:cs typeface="+mn-cs"/>
        </a:defRPr>
      </a:lvl5pPr>
      <a:lvl6pPr marL="2721671" algn="l" defTabSz="1088669" rtl="0" eaLnBrk="1" latinLnBrk="0" hangingPunct="1">
        <a:defRPr sz="2143" kern="1200">
          <a:solidFill>
            <a:schemeClr val="tx1"/>
          </a:solidFill>
          <a:latin typeface="+mn-lt"/>
          <a:ea typeface="+mn-ea"/>
          <a:cs typeface="+mn-cs"/>
        </a:defRPr>
      </a:lvl6pPr>
      <a:lvl7pPr marL="3266005" algn="l" defTabSz="1088669" rtl="0" eaLnBrk="1" latinLnBrk="0" hangingPunct="1">
        <a:defRPr sz="2143" kern="1200">
          <a:solidFill>
            <a:schemeClr val="tx1"/>
          </a:solidFill>
          <a:latin typeface="+mn-lt"/>
          <a:ea typeface="+mn-ea"/>
          <a:cs typeface="+mn-cs"/>
        </a:defRPr>
      </a:lvl7pPr>
      <a:lvl8pPr marL="3810339" algn="l" defTabSz="1088669" rtl="0" eaLnBrk="1" latinLnBrk="0" hangingPunct="1">
        <a:defRPr sz="2143" kern="1200">
          <a:solidFill>
            <a:schemeClr val="tx1"/>
          </a:solidFill>
          <a:latin typeface="+mn-lt"/>
          <a:ea typeface="+mn-ea"/>
          <a:cs typeface="+mn-cs"/>
        </a:defRPr>
      </a:lvl8pPr>
      <a:lvl9pPr marL="4354673" algn="l" defTabSz="1088669" rtl="0" eaLnBrk="1" latinLnBrk="0" hangingPunct="1">
        <a:defRPr sz="214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429" userDrawn="1">
          <p15:clr>
            <a:srgbClr val="F26B43"/>
          </p15:clr>
        </p15:guide>
        <p15:guide id="2" pos="186" userDrawn="1">
          <p15:clr>
            <a:srgbClr val="F26B43"/>
          </p15:clr>
        </p15:guide>
        <p15:guide id="3" pos="6672" userDrawn="1">
          <p15:clr>
            <a:srgbClr val="F26B43"/>
          </p15:clr>
        </p15:guide>
        <p15:guide id="4" pos="707" userDrawn="1">
          <p15:clr>
            <a:srgbClr val="F26B43"/>
          </p15:clr>
        </p15:guide>
        <p15:guide id="5" orient="horz" pos="527" userDrawn="1">
          <p15:clr>
            <a:srgbClr val="F26B43"/>
          </p15:clr>
        </p15:guide>
        <p15:guide id="7" orient="horz" pos="3793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tif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.sv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7.pn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tiff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Relationship Id="rId9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11.tiff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0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svg"/><Relationship Id="rId3" Type="http://schemas.openxmlformats.org/officeDocument/2006/relationships/tags" Target="../tags/tag6.xml"/><Relationship Id="rId7" Type="http://schemas.openxmlformats.org/officeDocument/2006/relationships/image" Target="../media/image13.png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6.sv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5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Relationship Id="rId9" Type="http://schemas.openxmlformats.org/officeDocument/2006/relationships/image" Target="../media/image5.sv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.tiff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18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973FCA0F-3F47-4402-A4AE-2EAC116142B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Folie" r:id="rId5" imgW="425" imgH="424" progId="TCLayout.ActiveDocument.1">
                  <p:embed/>
                </p:oleObj>
              </mc:Choice>
              <mc:Fallback>
                <p:oleObj name="think-cell Folie" r:id="rId5" imgW="425" imgH="42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973FCA0F-3F47-4402-A4AE-2EAC116142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295276" y="2487600"/>
            <a:ext cx="10021541" cy="1112850"/>
          </a:xfrm>
        </p:spPr>
        <p:txBody>
          <a:bodyPr vert="horz"/>
          <a:lstStyle/>
          <a:p>
            <a:pPr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</a:pPr>
            <a:r>
              <a:rPr lang="en-US" sz="2800" dirty="0"/>
              <a:t>Title</a:t>
            </a:r>
            <a:br>
              <a:rPr lang="en-US" sz="2800" dirty="0"/>
            </a:br>
            <a:endParaRPr lang="en-US" sz="280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295276" y="4049106"/>
            <a:ext cx="10296524" cy="1655762"/>
          </a:xfrm>
        </p:spPr>
        <p:txBody>
          <a:bodyPr/>
          <a:lstStyle/>
          <a:p>
            <a:r>
              <a:rPr lang="en-US" i="1" dirty="0"/>
              <a:t>Wednesday talk – date		</a:t>
            </a:r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Name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76C611A1-4C63-CFC6-90AB-A1A8EDC5EFA8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174" t="6795" r="31957" b="75179"/>
          <a:stretch/>
        </p:blipFill>
        <p:spPr>
          <a:xfrm>
            <a:off x="0" y="0"/>
            <a:ext cx="10887075" cy="2295936"/>
          </a:xfrm>
          <a:prstGeom prst="rect">
            <a:avLst/>
          </a:prstGeom>
        </p:spPr>
      </p:pic>
      <p:sp>
        <p:nvSpPr>
          <p:cNvPr id="7" name="Rectangle 246">
            <a:extLst>
              <a:ext uri="{FF2B5EF4-FFF2-40B4-BE49-F238E27FC236}">
                <a16:creationId xmlns:a16="http://schemas.microsoft.com/office/drawing/2014/main" id="{B99CB82B-AC7A-5A2F-E930-1034C28779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10887075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de-DE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B1C702E9-F6B3-5FE0-81B0-8C4A9CC88D8C}"/>
              </a:ext>
            </a:extLst>
          </p:cNvPr>
          <p:cNvSpPr/>
          <p:nvPr/>
        </p:nvSpPr>
        <p:spPr>
          <a:xfrm>
            <a:off x="0" y="0"/>
            <a:ext cx="10887075" cy="2295934"/>
          </a:xfrm>
          <a:prstGeom prst="rect">
            <a:avLst/>
          </a:prstGeom>
          <a:solidFill>
            <a:schemeClr val="tx2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1092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de-DE" dirty="0"/>
              <a:t>Timeline: PhD / </a:t>
            </a:r>
            <a:r>
              <a:rPr lang="de-DE" altLang="de-DE" dirty="0" err="1"/>
              <a:t>post</a:t>
            </a:r>
            <a:r>
              <a:rPr lang="de-DE" altLang="de-DE" dirty="0"/>
              <a:t> </a:t>
            </a:r>
            <a:r>
              <a:rPr lang="de-DE" altLang="de-DE" dirty="0" err="1"/>
              <a:t>doc</a:t>
            </a:r>
            <a:endParaRPr lang="en-US" dirty="0"/>
          </a:p>
        </p:txBody>
      </p:sp>
      <p:sp>
        <p:nvSpPr>
          <p:cNvPr id="4" name="Rechteck 4">
            <a:extLst>
              <a:ext uri="{FF2B5EF4-FFF2-40B4-BE49-F238E27FC236}">
                <a16:creationId xmlns:a16="http://schemas.microsoft.com/office/drawing/2014/main" id="{FC08DA92-0BDA-49BD-9578-6207F00212C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5499" y="2627935"/>
            <a:ext cx="8639175" cy="431800"/>
          </a:xfrm>
          <a:prstGeom prst="rect">
            <a:avLst/>
          </a:prstGeom>
          <a:gradFill rotWithShape="1">
            <a:gsLst>
              <a:gs pos="0">
                <a:srgbClr val="C00000"/>
              </a:gs>
              <a:gs pos="67000">
                <a:srgbClr val="C00000"/>
              </a:gs>
              <a:gs pos="73000">
                <a:srgbClr val="008000"/>
              </a:gs>
            </a:gsLst>
            <a:lin ang="0" scaled="1"/>
          </a:gradFill>
          <a:ln>
            <a:noFill/>
          </a:ln>
        </p:spPr>
        <p:txBody>
          <a:bodyPr wrap="none" anchor="ctr">
            <a:spAutoFit/>
          </a:bodyPr>
          <a:lstStyle>
            <a:lvl1pPr>
              <a:lnSpc>
                <a:spcPct val="120000"/>
              </a:lnSpc>
              <a:spcBef>
                <a:spcPct val="30000"/>
              </a:spcBef>
              <a:spcAft>
                <a:spcPct val="10000"/>
              </a:spcAft>
              <a:buChar char="•"/>
              <a:defRPr sz="32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110000"/>
              </a:lnSpc>
              <a:spcBef>
                <a:spcPct val="20000"/>
              </a:spcBef>
              <a:spcAft>
                <a:spcPct val="10000"/>
              </a:spcAft>
              <a:buChar char="-"/>
              <a:defRPr sz="28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spcAft>
                <a:spcPct val="10000"/>
              </a:spcAft>
              <a:buChar char="•"/>
              <a:defRPr sz="24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spcAft>
                <a:spcPct val="10000"/>
              </a:spcAft>
              <a:buChar char="–"/>
              <a:defRPr sz="20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15000"/>
              </a:spcBef>
              <a:spcAft>
                <a:spcPct val="10000"/>
              </a:spcAft>
              <a:buChar char="»"/>
              <a:defRPr sz="32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15000"/>
              </a:spcBef>
              <a:spcAft>
                <a:spcPct val="10000"/>
              </a:spcAft>
              <a:buChar char="»"/>
              <a:defRPr sz="32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15000"/>
              </a:spcBef>
              <a:spcAft>
                <a:spcPct val="10000"/>
              </a:spcAft>
              <a:buChar char="»"/>
              <a:defRPr sz="32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15000"/>
              </a:spcBef>
              <a:spcAft>
                <a:spcPct val="10000"/>
              </a:spcAft>
              <a:buChar char="»"/>
              <a:defRPr sz="32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15000"/>
              </a:spcBef>
              <a:spcAft>
                <a:spcPct val="10000"/>
              </a:spcAft>
              <a:buChar char="»"/>
              <a:defRPr sz="32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9pPr>
          </a:lstStyle>
          <a:p>
            <a:pPr algn="r" fontAlgn="b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altLang="de-DE" sz="12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5" name="Gerader Verbinder 7">
            <a:extLst>
              <a:ext uri="{FF2B5EF4-FFF2-40B4-BE49-F238E27FC236}">
                <a16:creationId xmlns:a16="http://schemas.microsoft.com/office/drawing/2014/main" id="{AA4FF450-9B2A-4D5B-B362-0AC84B9A08EC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825499" y="2051673"/>
            <a:ext cx="0" cy="1008062"/>
          </a:xfrm>
          <a:prstGeom prst="line">
            <a:avLst/>
          </a:prstGeom>
          <a:noFill/>
          <a:ln w="19050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6" name="Textfeld 5">
            <a:extLst>
              <a:ext uri="{FF2B5EF4-FFF2-40B4-BE49-F238E27FC236}">
                <a16:creationId xmlns:a16="http://schemas.microsoft.com/office/drawing/2014/main" id="{478EB9F6-4967-4D99-A092-17D3FF11786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3087" y="1310932"/>
            <a:ext cx="1584325" cy="70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120000"/>
              </a:lnSpc>
              <a:spcBef>
                <a:spcPct val="30000"/>
              </a:spcBef>
              <a:spcAft>
                <a:spcPct val="10000"/>
              </a:spcAft>
              <a:buChar char="•"/>
              <a:defRPr sz="32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110000"/>
              </a:lnSpc>
              <a:spcBef>
                <a:spcPct val="20000"/>
              </a:spcBef>
              <a:spcAft>
                <a:spcPct val="10000"/>
              </a:spcAft>
              <a:buChar char="-"/>
              <a:defRPr sz="28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spcAft>
                <a:spcPct val="10000"/>
              </a:spcAft>
              <a:buChar char="•"/>
              <a:defRPr sz="24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spcAft>
                <a:spcPct val="10000"/>
              </a:spcAft>
              <a:buChar char="–"/>
              <a:defRPr sz="20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15000"/>
              </a:spcBef>
              <a:spcAft>
                <a:spcPct val="10000"/>
              </a:spcAft>
              <a:buChar char="»"/>
              <a:defRPr sz="32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15000"/>
              </a:spcBef>
              <a:spcAft>
                <a:spcPct val="10000"/>
              </a:spcAft>
              <a:buChar char="»"/>
              <a:defRPr sz="32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15000"/>
              </a:spcBef>
              <a:spcAft>
                <a:spcPct val="10000"/>
              </a:spcAft>
              <a:buChar char="»"/>
              <a:defRPr sz="32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15000"/>
              </a:spcBef>
              <a:spcAft>
                <a:spcPct val="10000"/>
              </a:spcAft>
              <a:buChar char="»"/>
              <a:defRPr sz="32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15000"/>
              </a:spcBef>
              <a:spcAft>
                <a:spcPct val="10000"/>
              </a:spcAft>
              <a:buChar char="»"/>
              <a:defRPr sz="32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de-DE" altLang="de-DE" sz="1800" u="sng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rt</a:t>
            </a:r>
          </a:p>
          <a:p>
            <a: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de-DE" altLang="de-DE" sz="18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nth</a:t>
            </a:r>
            <a:r>
              <a:rPr lang="de-DE" altLang="de-DE" sz="1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altLang="de-DE" sz="18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ear</a:t>
            </a:r>
            <a:endParaRPr lang="de-DE" altLang="de-DE" sz="18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22B469C-F251-43F3-8616-CF24188421D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15299" y="1310932"/>
            <a:ext cx="1584325" cy="70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120000"/>
              </a:lnSpc>
              <a:spcBef>
                <a:spcPct val="30000"/>
              </a:spcBef>
              <a:spcAft>
                <a:spcPct val="10000"/>
              </a:spcAft>
              <a:buChar char="•"/>
              <a:defRPr sz="32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110000"/>
              </a:lnSpc>
              <a:spcBef>
                <a:spcPct val="20000"/>
              </a:spcBef>
              <a:spcAft>
                <a:spcPct val="10000"/>
              </a:spcAft>
              <a:buChar char="-"/>
              <a:defRPr sz="28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spcAft>
                <a:spcPct val="10000"/>
              </a:spcAft>
              <a:buChar char="•"/>
              <a:defRPr sz="24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spcAft>
                <a:spcPct val="10000"/>
              </a:spcAft>
              <a:buChar char="–"/>
              <a:defRPr sz="20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15000"/>
              </a:spcBef>
              <a:spcAft>
                <a:spcPct val="10000"/>
              </a:spcAft>
              <a:buChar char="»"/>
              <a:defRPr sz="32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15000"/>
              </a:spcBef>
              <a:spcAft>
                <a:spcPct val="10000"/>
              </a:spcAft>
              <a:buChar char="»"/>
              <a:defRPr sz="32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15000"/>
              </a:spcBef>
              <a:spcAft>
                <a:spcPct val="10000"/>
              </a:spcAft>
              <a:buChar char="»"/>
              <a:defRPr sz="32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15000"/>
              </a:spcBef>
              <a:spcAft>
                <a:spcPct val="10000"/>
              </a:spcAft>
              <a:buChar char="»"/>
              <a:defRPr sz="32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15000"/>
              </a:spcBef>
              <a:spcAft>
                <a:spcPct val="10000"/>
              </a:spcAft>
              <a:buChar char="»"/>
              <a:defRPr sz="32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9pPr>
          </a:lstStyle>
          <a:p>
            <a:pPr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de-DE" altLang="de-DE" sz="1800" u="sng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d</a:t>
            </a:r>
          </a:p>
          <a:p>
            <a:pPr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de-DE" altLang="de-DE" sz="18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nth</a:t>
            </a:r>
            <a:r>
              <a:rPr lang="de-DE" altLang="de-DE" sz="1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altLang="de-DE" sz="18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ear</a:t>
            </a:r>
            <a:endParaRPr lang="de-DE" altLang="de-DE" sz="18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8" name="Gerader Verbinder 8">
            <a:extLst>
              <a:ext uri="{FF2B5EF4-FFF2-40B4-BE49-F238E27FC236}">
                <a16:creationId xmlns:a16="http://schemas.microsoft.com/office/drawing/2014/main" id="{1EBB48C9-8116-487A-9237-5157F14E40E5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9458324" y="2051673"/>
            <a:ext cx="0" cy="1584325"/>
          </a:xfrm>
          <a:prstGeom prst="line">
            <a:avLst/>
          </a:prstGeom>
          <a:noFill/>
          <a:ln w="19050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9" name="Gerader Verbinder 9">
            <a:extLst>
              <a:ext uri="{FF2B5EF4-FFF2-40B4-BE49-F238E27FC236}">
                <a16:creationId xmlns:a16="http://schemas.microsoft.com/office/drawing/2014/main" id="{F09DA87C-900A-4CAF-9117-943532B7E561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2982912" y="2051673"/>
            <a:ext cx="0" cy="1008062"/>
          </a:xfrm>
          <a:prstGeom prst="line">
            <a:avLst/>
          </a:prstGeom>
          <a:noFill/>
          <a:ln w="19050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0" name="Gerader Verbinder 10">
            <a:extLst>
              <a:ext uri="{FF2B5EF4-FFF2-40B4-BE49-F238E27FC236}">
                <a16:creationId xmlns:a16="http://schemas.microsoft.com/office/drawing/2014/main" id="{2FE23EC3-B1C5-44C1-975A-05419404E0D0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5141912" y="2051673"/>
            <a:ext cx="0" cy="1008062"/>
          </a:xfrm>
          <a:prstGeom prst="line">
            <a:avLst/>
          </a:prstGeom>
          <a:noFill/>
          <a:ln w="19050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1" name="Gerader Verbinder 11">
            <a:extLst>
              <a:ext uri="{FF2B5EF4-FFF2-40B4-BE49-F238E27FC236}">
                <a16:creationId xmlns:a16="http://schemas.microsoft.com/office/drawing/2014/main" id="{7A52F0ED-8638-4B18-B76E-F3DE8271DB45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7299324" y="2051673"/>
            <a:ext cx="0" cy="1008062"/>
          </a:xfrm>
          <a:prstGeom prst="line">
            <a:avLst/>
          </a:prstGeom>
          <a:noFill/>
          <a:ln w="19050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2" name="Rechteck 2">
            <a:extLst>
              <a:ext uri="{FF2B5EF4-FFF2-40B4-BE49-F238E27FC236}">
                <a16:creationId xmlns:a16="http://schemas.microsoft.com/office/drawing/2014/main" id="{38D24E9C-4A97-4A5D-8EAF-1B5D7F3EE5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62212" y="1618907"/>
            <a:ext cx="917575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120000"/>
              </a:lnSpc>
              <a:spcBef>
                <a:spcPct val="30000"/>
              </a:spcBef>
              <a:spcAft>
                <a:spcPct val="10000"/>
              </a:spcAft>
              <a:buChar char="•"/>
              <a:defRPr sz="32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110000"/>
              </a:lnSpc>
              <a:spcBef>
                <a:spcPct val="20000"/>
              </a:spcBef>
              <a:spcAft>
                <a:spcPct val="10000"/>
              </a:spcAft>
              <a:buChar char="-"/>
              <a:defRPr sz="28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spcAft>
                <a:spcPct val="10000"/>
              </a:spcAft>
              <a:buChar char="•"/>
              <a:defRPr sz="24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spcAft>
                <a:spcPct val="10000"/>
              </a:spcAft>
              <a:buChar char="–"/>
              <a:defRPr sz="20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15000"/>
              </a:spcBef>
              <a:spcAft>
                <a:spcPct val="10000"/>
              </a:spcAft>
              <a:buChar char="»"/>
              <a:defRPr sz="32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15000"/>
              </a:spcBef>
              <a:spcAft>
                <a:spcPct val="10000"/>
              </a:spcAft>
              <a:buChar char="»"/>
              <a:defRPr sz="32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15000"/>
              </a:spcBef>
              <a:spcAft>
                <a:spcPct val="10000"/>
              </a:spcAft>
              <a:buChar char="»"/>
              <a:defRPr sz="32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15000"/>
              </a:spcBef>
              <a:spcAft>
                <a:spcPct val="10000"/>
              </a:spcAft>
              <a:buChar char="»"/>
              <a:defRPr sz="32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15000"/>
              </a:spcBef>
              <a:spcAft>
                <a:spcPct val="10000"/>
              </a:spcAft>
              <a:buChar char="»"/>
              <a:defRPr sz="32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de-DE" altLang="de-DE" sz="18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ear</a:t>
            </a:r>
            <a:r>
              <a:rPr lang="de-DE" altLang="de-DE" sz="1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1</a:t>
            </a:r>
          </a:p>
        </p:txBody>
      </p:sp>
      <p:sp>
        <p:nvSpPr>
          <p:cNvPr id="13" name="Rechteck 13">
            <a:extLst>
              <a:ext uri="{FF2B5EF4-FFF2-40B4-BE49-F238E27FC236}">
                <a16:creationId xmlns:a16="http://schemas.microsoft.com/office/drawing/2014/main" id="{9E76AFFA-F158-41C8-A8C5-2587F179D4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08523" y="1618907"/>
            <a:ext cx="915988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120000"/>
              </a:lnSpc>
              <a:spcBef>
                <a:spcPct val="30000"/>
              </a:spcBef>
              <a:spcAft>
                <a:spcPct val="10000"/>
              </a:spcAft>
              <a:buChar char="•"/>
              <a:defRPr sz="32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110000"/>
              </a:lnSpc>
              <a:spcBef>
                <a:spcPct val="20000"/>
              </a:spcBef>
              <a:spcAft>
                <a:spcPct val="10000"/>
              </a:spcAft>
              <a:buChar char="-"/>
              <a:defRPr sz="28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spcAft>
                <a:spcPct val="10000"/>
              </a:spcAft>
              <a:buChar char="•"/>
              <a:defRPr sz="24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spcAft>
                <a:spcPct val="10000"/>
              </a:spcAft>
              <a:buChar char="–"/>
              <a:defRPr sz="20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15000"/>
              </a:spcBef>
              <a:spcAft>
                <a:spcPct val="10000"/>
              </a:spcAft>
              <a:buChar char="»"/>
              <a:defRPr sz="32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15000"/>
              </a:spcBef>
              <a:spcAft>
                <a:spcPct val="10000"/>
              </a:spcAft>
              <a:buChar char="»"/>
              <a:defRPr sz="32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15000"/>
              </a:spcBef>
              <a:spcAft>
                <a:spcPct val="10000"/>
              </a:spcAft>
              <a:buChar char="»"/>
              <a:defRPr sz="32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15000"/>
              </a:spcBef>
              <a:spcAft>
                <a:spcPct val="10000"/>
              </a:spcAft>
              <a:buChar char="»"/>
              <a:defRPr sz="32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15000"/>
              </a:spcBef>
              <a:spcAft>
                <a:spcPct val="10000"/>
              </a:spcAft>
              <a:buChar char="»"/>
              <a:defRPr sz="32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de-DE" altLang="de-DE" sz="18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ear</a:t>
            </a:r>
            <a:r>
              <a:rPr lang="de-DE" altLang="de-DE" sz="1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</a:t>
            </a:r>
          </a:p>
        </p:txBody>
      </p:sp>
      <p:sp>
        <p:nvSpPr>
          <p:cNvPr id="14" name="Rechteck 14">
            <a:extLst>
              <a:ext uri="{FF2B5EF4-FFF2-40B4-BE49-F238E27FC236}">
                <a16:creationId xmlns:a16="http://schemas.microsoft.com/office/drawing/2014/main" id="{029B9D75-EF26-4589-A76C-7AF0533B469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43712" y="1618907"/>
            <a:ext cx="915987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120000"/>
              </a:lnSpc>
              <a:spcBef>
                <a:spcPct val="30000"/>
              </a:spcBef>
              <a:spcAft>
                <a:spcPct val="10000"/>
              </a:spcAft>
              <a:buChar char="•"/>
              <a:defRPr sz="32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110000"/>
              </a:lnSpc>
              <a:spcBef>
                <a:spcPct val="20000"/>
              </a:spcBef>
              <a:spcAft>
                <a:spcPct val="10000"/>
              </a:spcAft>
              <a:buChar char="-"/>
              <a:defRPr sz="28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spcAft>
                <a:spcPct val="10000"/>
              </a:spcAft>
              <a:buChar char="•"/>
              <a:defRPr sz="24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spcAft>
                <a:spcPct val="10000"/>
              </a:spcAft>
              <a:buChar char="–"/>
              <a:defRPr sz="20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15000"/>
              </a:spcBef>
              <a:spcAft>
                <a:spcPct val="10000"/>
              </a:spcAft>
              <a:buChar char="»"/>
              <a:defRPr sz="32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15000"/>
              </a:spcBef>
              <a:spcAft>
                <a:spcPct val="10000"/>
              </a:spcAft>
              <a:buChar char="»"/>
              <a:defRPr sz="32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15000"/>
              </a:spcBef>
              <a:spcAft>
                <a:spcPct val="10000"/>
              </a:spcAft>
              <a:buChar char="»"/>
              <a:defRPr sz="32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15000"/>
              </a:spcBef>
              <a:spcAft>
                <a:spcPct val="10000"/>
              </a:spcAft>
              <a:buChar char="»"/>
              <a:defRPr sz="32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15000"/>
              </a:spcBef>
              <a:spcAft>
                <a:spcPct val="10000"/>
              </a:spcAft>
              <a:buChar char="»"/>
              <a:defRPr sz="32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de-DE" altLang="de-DE" sz="18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ear</a:t>
            </a:r>
            <a:r>
              <a:rPr lang="de-DE" altLang="de-DE" sz="1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3</a:t>
            </a:r>
          </a:p>
        </p:txBody>
      </p:sp>
      <p:cxnSp>
        <p:nvCxnSpPr>
          <p:cNvPr id="15" name="Gerader Verbinder 15">
            <a:extLst>
              <a:ext uri="{FF2B5EF4-FFF2-40B4-BE49-F238E27FC236}">
                <a16:creationId xmlns:a16="http://schemas.microsoft.com/office/drawing/2014/main" id="{102CAEB8-87C8-4EEB-8610-C759C07E0866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6904037" y="2627935"/>
            <a:ext cx="0" cy="1008063"/>
          </a:xfrm>
          <a:prstGeom prst="line">
            <a:avLst/>
          </a:prstGeom>
          <a:noFill/>
          <a:ln w="19050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6" name="Rechteck 16">
            <a:extLst>
              <a:ext uri="{FF2B5EF4-FFF2-40B4-BE49-F238E27FC236}">
                <a16:creationId xmlns:a16="http://schemas.microsoft.com/office/drawing/2014/main" id="{886B8EE8-B3F6-4EF2-B9E2-C05CE04DCA0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00799" y="3750298"/>
            <a:ext cx="1608138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120000"/>
              </a:lnSpc>
              <a:spcBef>
                <a:spcPct val="30000"/>
              </a:spcBef>
              <a:spcAft>
                <a:spcPct val="10000"/>
              </a:spcAft>
              <a:buChar char="•"/>
              <a:defRPr sz="32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110000"/>
              </a:lnSpc>
              <a:spcBef>
                <a:spcPct val="20000"/>
              </a:spcBef>
              <a:spcAft>
                <a:spcPct val="10000"/>
              </a:spcAft>
              <a:buChar char="-"/>
              <a:defRPr sz="28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spcAft>
                <a:spcPct val="10000"/>
              </a:spcAft>
              <a:buChar char="•"/>
              <a:defRPr sz="24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spcAft>
                <a:spcPct val="10000"/>
              </a:spcAft>
              <a:buChar char="–"/>
              <a:defRPr sz="20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15000"/>
              </a:spcBef>
              <a:spcAft>
                <a:spcPct val="10000"/>
              </a:spcAft>
              <a:buChar char="»"/>
              <a:defRPr sz="32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15000"/>
              </a:spcBef>
              <a:spcAft>
                <a:spcPct val="10000"/>
              </a:spcAft>
              <a:buChar char="»"/>
              <a:defRPr sz="32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15000"/>
              </a:spcBef>
              <a:spcAft>
                <a:spcPct val="10000"/>
              </a:spcAft>
              <a:buChar char="»"/>
              <a:defRPr sz="32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15000"/>
              </a:spcBef>
              <a:spcAft>
                <a:spcPct val="10000"/>
              </a:spcAft>
              <a:buChar char="»"/>
              <a:defRPr sz="32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15000"/>
              </a:spcBef>
              <a:spcAft>
                <a:spcPct val="10000"/>
              </a:spcAft>
              <a:buChar char="»"/>
              <a:defRPr sz="32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de-DE" altLang="de-DE"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rent date</a:t>
            </a:r>
          </a:p>
        </p:txBody>
      </p:sp>
      <p:cxnSp>
        <p:nvCxnSpPr>
          <p:cNvPr id="17" name="Gerade Verbindung mit Pfeil 19">
            <a:extLst>
              <a:ext uri="{FF2B5EF4-FFF2-40B4-BE49-F238E27FC236}">
                <a16:creationId xmlns:a16="http://schemas.microsoft.com/office/drawing/2014/main" id="{69BEC031-EAA6-4490-94DD-A395340CFFD5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6927849" y="3420098"/>
            <a:ext cx="2519363" cy="0"/>
          </a:xfrm>
          <a:prstGeom prst="straightConnector1">
            <a:avLst/>
          </a:prstGeom>
          <a:noFill/>
          <a:ln w="57150" algn="ctr">
            <a:solidFill>
              <a:schemeClr val="tx1"/>
            </a:solidFill>
            <a:round/>
            <a:headEnd type="triangl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8" name="Textfeld 17">
            <a:extLst>
              <a:ext uri="{FF2B5EF4-FFF2-40B4-BE49-F238E27FC236}">
                <a16:creationId xmlns:a16="http://schemas.microsoft.com/office/drawing/2014/main" id="{7B31B3B9-ACB9-427B-9F02-87D79AA9569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96187" y="3158160"/>
            <a:ext cx="1085850" cy="523875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120000"/>
              </a:lnSpc>
              <a:spcBef>
                <a:spcPct val="30000"/>
              </a:spcBef>
              <a:spcAft>
                <a:spcPct val="10000"/>
              </a:spcAft>
              <a:buChar char="•"/>
              <a:defRPr sz="32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110000"/>
              </a:lnSpc>
              <a:spcBef>
                <a:spcPct val="20000"/>
              </a:spcBef>
              <a:spcAft>
                <a:spcPct val="10000"/>
              </a:spcAft>
              <a:buChar char="-"/>
              <a:defRPr sz="28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spcAft>
                <a:spcPct val="10000"/>
              </a:spcAft>
              <a:buChar char="•"/>
              <a:defRPr sz="24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spcAft>
                <a:spcPct val="10000"/>
              </a:spcAft>
              <a:buChar char="–"/>
              <a:defRPr sz="20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15000"/>
              </a:spcBef>
              <a:spcAft>
                <a:spcPct val="10000"/>
              </a:spcAft>
              <a:buChar char="»"/>
              <a:defRPr sz="32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15000"/>
              </a:spcBef>
              <a:spcAft>
                <a:spcPct val="10000"/>
              </a:spcAft>
              <a:buChar char="»"/>
              <a:defRPr sz="32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15000"/>
              </a:spcBef>
              <a:spcAft>
                <a:spcPct val="10000"/>
              </a:spcAft>
              <a:buChar char="»"/>
              <a:defRPr sz="32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15000"/>
              </a:spcBef>
              <a:spcAft>
                <a:spcPct val="10000"/>
              </a:spcAft>
              <a:buChar char="»"/>
              <a:defRPr sz="32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15000"/>
              </a:spcBef>
              <a:spcAft>
                <a:spcPct val="10000"/>
              </a:spcAft>
              <a:buChar char="»"/>
              <a:defRPr sz="32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de-DE" altLang="de-DE" sz="2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X % </a:t>
            </a:r>
          </a:p>
        </p:txBody>
      </p:sp>
      <p:sp>
        <p:nvSpPr>
          <p:cNvPr id="19" name="TextBox 12">
            <a:extLst>
              <a:ext uri="{FF2B5EF4-FFF2-40B4-BE49-F238E27FC236}">
                <a16:creationId xmlns:a16="http://schemas.microsoft.com/office/drawing/2014/main" id="{56ECA0EE-0A17-4A8B-90DF-40AEB811AF1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08224" y="3928098"/>
            <a:ext cx="1225550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120000"/>
              </a:lnSpc>
              <a:spcBef>
                <a:spcPct val="30000"/>
              </a:spcBef>
              <a:spcAft>
                <a:spcPct val="10000"/>
              </a:spcAft>
              <a:buChar char="•"/>
              <a:defRPr sz="32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110000"/>
              </a:lnSpc>
              <a:spcBef>
                <a:spcPct val="20000"/>
              </a:spcBef>
              <a:spcAft>
                <a:spcPct val="10000"/>
              </a:spcAft>
              <a:buChar char="-"/>
              <a:defRPr sz="28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spcAft>
                <a:spcPct val="10000"/>
              </a:spcAft>
              <a:buChar char="•"/>
              <a:defRPr sz="24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spcAft>
                <a:spcPct val="10000"/>
              </a:spcAft>
              <a:buChar char="–"/>
              <a:defRPr sz="20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15000"/>
              </a:spcBef>
              <a:spcAft>
                <a:spcPct val="10000"/>
              </a:spcAft>
              <a:buChar char="»"/>
              <a:defRPr sz="32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15000"/>
              </a:spcBef>
              <a:spcAft>
                <a:spcPct val="10000"/>
              </a:spcAft>
              <a:buChar char="»"/>
              <a:defRPr sz="32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15000"/>
              </a:spcBef>
              <a:spcAft>
                <a:spcPct val="10000"/>
              </a:spcAft>
              <a:buChar char="»"/>
              <a:defRPr sz="32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15000"/>
              </a:spcBef>
              <a:spcAft>
                <a:spcPct val="10000"/>
              </a:spcAft>
              <a:buChar char="»"/>
              <a:defRPr sz="32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15000"/>
              </a:spcBef>
              <a:spcAft>
                <a:spcPct val="10000"/>
              </a:spcAft>
              <a:buChar char="»"/>
              <a:defRPr sz="32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de-DE" altLang="de-DE"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per #1</a:t>
            </a:r>
          </a:p>
        </p:txBody>
      </p:sp>
      <p:sp>
        <p:nvSpPr>
          <p:cNvPr id="20" name="Up Arrow 25">
            <a:extLst>
              <a:ext uri="{FF2B5EF4-FFF2-40B4-BE49-F238E27FC236}">
                <a16:creationId xmlns:a16="http://schemas.microsoft.com/office/drawing/2014/main" id="{9C09782E-B534-46FD-8403-AA847F09301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81287" y="3158160"/>
            <a:ext cx="479425" cy="792163"/>
          </a:xfrm>
          <a:prstGeom prst="upArrow">
            <a:avLst>
              <a:gd name="adj1" fmla="val 50000"/>
              <a:gd name="adj2" fmla="val 50074"/>
            </a:avLst>
          </a:prstGeom>
          <a:solidFill>
            <a:srgbClr val="00549F"/>
          </a:solidFill>
          <a:ln>
            <a:noFill/>
          </a:ln>
        </p:spPr>
        <p:txBody>
          <a:bodyPr wrap="none" anchor="ctr">
            <a:spAutoFit/>
          </a:bodyPr>
          <a:lstStyle>
            <a:lvl1pPr>
              <a:lnSpc>
                <a:spcPct val="120000"/>
              </a:lnSpc>
              <a:spcBef>
                <a:spcPct val="30000"/>
              </a:spcBef>
              <a:spcAft>
                <a:spcPct val="10000"/>
              </a:spcAft>
              <a:buChar char="•"/>
              <a:defRPr sz="32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110000"/>
              </a:lnSpc>
              <a:spcBef>
                <a:spcPct val="20000"/>
              </a:spcBef>
              <a:spcAft>
                <a:spcPct val="10000"/>
              </a:spcAft>
              <a:buChar char="-"/>
              <a:defRPr sz="28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spcAft>
                <a:spcPct val="10000"/>
              </a:spcAft>
              <a:buChar char="•"/>
              <a:defRPr sz="24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spcAft>
                <a:spcPct val="10000"/>
              </a:spcAft>
              <a:buChar char="–"/>
              <a:defRPr sz="20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15000"/>
              </a:spcBef>
              <a:spcAft>
                <a:spcPct val="10000"/>
              </a:spcAft>
              <a:buChar char="»"/>
              <a:defRPr sz="32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15000"/>
              </a:spcBef>
              <a:spcAft>
                <a:spcPct val="10000"/>
              </a:spcAft>
              <a:buChar char="»"/>
              <a:defRPr sz="32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15000"/>
              </a:spcBef>
              <a:spcAft>
                <a:spcPct val="10000"/>
              </a:spcAft>
              <a:buChar char="»"/>
              <a:defRPr sz="32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15000"/>
              </a:spcBef>
              <a:spcAft>
                <a:spcPct val="10000"/>
              </a:spcAft>
              <a:buChar char="»"/>
              <a:defRPr sz="32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15000"/>
              </a:spcBef>
              <a:spcAft>
                <a:spcPct val="10000"/>
              </a:spcAft>
              <a:buChar char="»"/>
              <a:defRPr sz="32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9pPr>
          </a:lstStyle>
          <a:p>
            <a:pPr algn="r" fontAlgn="b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altLang="de-DE" sz="12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TextBox 26">
            <a:extLst>
              <a:ext uri="{FF2B5EF4-FFF2-40B4-BE49-F238E27FC236}">
                <a16:creationId xmlns:a16="http://schemas.microsoft.com/office/drawing/2014/main" id="{CC4D71E5-0585-4C97-9D94-9CE917295C8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011737" y="4055098"/>
            <a:ext cx="1225550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120000"/>
              </a:lnSpc>
              <a:spcBef>
                <a:spcPct val="30000"/>
              </a:spcBef>
              <a:spcAft>
                <a:spcPct val="10000"/>
              </a:spcAft>
              <a:buChar char="•"/>
              <a:defRPr sz="32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110000"/>
              </a:lnSpc>
              <a:spcBef>
                <a:spcPct val="20000"/>
              </a:spcBef>
              <a:spcAft>
                <a:spcPct val="10000"/>
              </a:spcAft>
              <a:buChar char="-"/>
              <a:defRPr sz="28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spcAft>
                <a:spcPct val="10000"/>
              </a:spcAft>
              <a:buChar char="•"/>
              <a:defRPr sz="24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spcAft>
                <a:spcPct val="10000"/>
              </a:spcAft>
              <a:buChar char="–"/>
              <a:defRPr sz="20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15000"/>
              </a:spcBef>
              <a:spcAft>
                <a:spcPct val="10000"/>
              </a:spcAft>
              <a:buChar char="»"/>
              <a:defRPr sz="32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15000"/>
              </a:spcBef>
              <a:spcAft>
                <a:spcPct val="10000"/>
              </a:spcAft>
              <a:buChar char="»"/>
              <a:defRPr sz="32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15000"/>
              </a:spcBef>
              <a:spcAft>
                <a:spcPct val="10000"/>
              </a:spcAft>
              <a:buChar char="»"/>
              <a:defRPr sz="32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15000"/>
              </a:spcBef>
              <a:spcAft>
                <a:spcPct val="10000"/>
              </a:spcAft>
              <a:buChar char="»"/>
              <a:defRPr sz="32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15000"/>
              </a:spcBef>
              <a:spcAft>
                <a:spcPct val="10000"/>
              </a:spcAft>
              <a:buChar char="»"/>
              <a:defRPr sz="32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de-DE" altLang="de-DE"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per #2</a:t>
            </a:r>
          </a:p>
        </p:txBody>
      </p:sp>
      <p:sp>
        <p:nvSpPr>
          <p:cNvPr id="22" name="Up Arrow 27">
            <a:extLst>
              <a:ext uri="{FF2B5EF4-FFF2-40B4-BE49-F238E27FC236}">
                <a16:creationId xmlns:a16="http://schemas.microsoft.com/office/drawing/2014/main" id="{20468BC9-4B63-432A-9698-DC4E695F1B1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84799" y="3285160"/>
            <a:ext cx="479425" cy="792163"/>
          </a:xfrm>
          <a:prstGeom prst="upArrow">
            <a:avLst>
              <a:gd name="adj1" fmla="val 50000"/>
              <a:gd name="adj2" fmla="val 50074"/>
            </a:avLst>
          </a:prstGeom>
          <a:solidFill>
            <a:srgbClr val="00549F"/>
          </a:solidFill>
          <a:ln>
            <a:noFill/>
          </a:ln>
        </p:spPr>
        <p:txBody>
          <a:bodyPr wrap="none" anchor="ctr">
            <a:spAutoFit/>
          </a:bodyPr>
          <a:lstStyle>
            <a:lvl1pPr>
              <a:lnSpc>
                <a:spcPct val="120000"/>
              </a:lnSpc>
              <a:spcBef>
                <a:spcPct val="30000"/>
              </a:spcBef>
              <a:spcAft>
                <a:spcPct val="10000"/>
              </a:spcAft>
              <a:buChar char="•"/>
              <a:defRPr sz="32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110000"/>
              </a:lnSpc>
              <a:spcBef>
                <a:spcPct val="20000"/>
              </a:spcBef>
              <a:spcAft>
                <a:spcPct val="10000"/>
              </a:spcAft>
              <a:buChar char="-"/>
              <a:defRPr sz="28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spcAft>
                <a:spcPct val="10000"/>
              </a:spcAft>
              <a:buChar char="•"/>
              <a:defRPr sz="24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spcAft>
                <a:spcPct val="10000"/>
              </a:spcAft>
              <a:buChar char="–"/>
              <a:defRPr sz="20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15000"/>
              </a:spcBef>
              <a:spcAft>
                <a:spcPct val="10000"/>
              </a:spcAft>
              <a:buChar char="»"/>
              <a:defRPr sz="32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15000"/>
              </a:spcBef>
              <a:spcAft>
                <a:spcPct val="10000"/>
              </a:spcAft>
              <a:buChar char="»"/>
              <a:defRPr sz="32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15000"/>
              </a:spcBef>
              <a:spcAft>
                <a:spcPct val="10000"/>
              </a:spcAft>
              <a:buChar char="»"/>
              <a:defRPr sz="32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15000"/>
              </a:spcBef>
              <a:spcAft>
                <a:spcPct val="10000"/>
              </a:spcAft>
              <a:buChar char="»"/>
              <a:defRPr sz="32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15000"/>
              </a:spcBef>
              <a:spcAft>
                <a:spcPct val="10000"/>
              </a:spcAft>
              <a:buChar char="»"/>
              <a:defRPr sz="32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9pPr>
          </a:lstStyle>
          <a:p>
            <a:pPr algn="r" fontAlgn="b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altLang="de-DE" sz="12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TextBox 28">
            <a:extLst>
              <a:ext uri="{FF2B5EF4-FFF2-40B4-BE49-F238E27FC236}">
                <a16:creationId xmlns:a16="http://schemas.microsoft.com/office/drawing/2014/main" id="{3B1AAB88-1134-4645-ABEE-9725580B7DC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608887" y="4879010"/>
            <a:ext cx="1225550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120000"/>
              </a:lnSpc>
              <a:spcBef>
                <a:spcPct val="30000"/>
              </a:spcBef>
              <a:spcAft>
                <a:spcPct val="10000"/>
              </a:spcAft>
              <a:buChar char="•"/>
              <a:defRPr sz="32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110000"/>
              </a:lnSpc>
              <a:spcBef>
                <a:spcPct val="20000"/>
              </a:spcBef>
              <a:spcAft>
                <a:spcPct val="10000"/>
              </a:spcAft>
              <a:buChar char="-"/>
              <a:defRPr sz="28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spcAft>
                <a:spcPct val="10000"/>
              </a:spcAft>
              <a:buChar char="•"/>
              <a:defRPr sz="24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spcAft>
                <a:spcPct val="10000"/>
              </a:spcAft>
              <a:buChar char="–"/>
              <a:defRPr sz="20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15000"/>
              </a:spcBef>
              <a:spcAft>
                <a:spcPct val="10000"/>
              </a:spcAft>
              <a:buChar char="»"/>
              <a:defRPr sz="32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15000"/>
              </a:spcBef>
              <a:spcAft>
                <a:spcPct val="10000"/>
              </a:spcAft>
              <a:buChar char="»"/>
              <a:defRPr sz="32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15000"/>
              </a:spcBef>
              <a:spcAft>
                <a:spcPct val="10000"/>
              </a:spcAft>
              <a:buChar char="»"/>
              <a:defRPr sz="32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15000"/>
              </a:spcBef>
              <a:spcAft>
                <a:spcPct val="10000"/>
              </a:spcAft>
              <a:buChar char="»"/>
              <a:defRPr sz="32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15000"/>
              </a:spcBef>
              <a:spcAft>
                <a:spcPct val="10000"/>
              </a:spcAft>
              <a:buChar char="»"/>
              <a:defRPr sz="32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de-DE" altLang="de-DE"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per #3</a:t>
            </a:r>
          </a:p>
        </p:txBody>
      </p:sp>
      <p:sp>
        <p:nvSpPr>
          <p:cNvPr id="24" name="Up Arrow 29">
            <a:extLst>
              <a:ext uri="{FF2B5EF4-FFF2-40B4-BE49-F238E27FC236}">
                <a16:creationId xmlns:a16="http://schemas.microsoft.com/office/drawing/2014/main" id="{F078A410-6E02-4311-8ABC-F59CBBC2A11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81949" y="4109073"/>
            <a:ext cx="479425" cy="792162"/>
          </a:xfrm>
          <a:prstGeom prst="upArrow">
            <a:avLst>
              <a:gd name="adj1" fmla="val 50000"/>
              <a:gd name="adj2" fmla="val 50074"/>
            </a:avLst>
          </a:prstGeom>
          <a:solidFill>
            <a:srgbClr val="00549F"/>
          </a:solidFill>
          <a:ln>
            <a:noFill/>
          </a:ln>
        </p:spPr>
        <p:txBody>
          <a:bodyPr wrap="none" anchor="ctr">
            <a:spAutoFit/>
          </a:bodyPr>
          <a:lstStyle>
            <a:lvl1pPr>
              <a:lnSpc>
                <a:spcPct val="120000"/>
              </a:lnSpc>
              <a:spcBef>
                <a:spcPct val="30000"/>
              </a:spcBef>
              <a:spcAft>
                <a:spcPct val="10000"/>
              </a:spcAft>
              <a:buChar char="•"/>
              <a:defRPr sz="32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110000"/>
              </a:lnSpc>
              <a:spcBef>
                <a:spcPct val="20000"/>
              </a:spcBef>
              <a:spcAft>
                <a:spcPct val="10000"/>
              </a:spcAft>
              <a:buChar char="-"/>
              <a:defRPr sz="28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spcAft>
                <a:spcPct val="10000"/>
              </a:spcAft>
              <a:buChar char="•"/>
              <a:defRPr sz="24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spcAft>
                <a:spcPct val="10000"/>
              </a:spcAft>
              <a:buChar char="–"/>
              <a:defRPr sz="20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15000"/>
              </a:spcBef>
              <a:spcAft>
                <a:spcPct val="10000"/>
              </a:spcAft>
              <a:buChar char="»"/>
              <a:defRPr sz="32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15000"/>
              </a:spcBef>
              <a:spcAft>
                <a:spcPct val="10000"/>
              </a:spcAft>
              <a:buChar char="»"/>
              <a:defRPr sz="32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15000"/>
              </a:spcBef>
              <a:spcAft>
                <a:spcPct val="10000"/>
              </a:spcAft>
              <a:buChar char="»"/>
              <a:defRPr sz="32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15000"/>
              </a:spcBef>
              <a:spcAft>
                <a:spcPct val="10000"/>
              </a:spcAft>
              <a:buChar char="»"/>
              <a:defRPr sz="32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15000"/>
              </a:spcBef>
              <a:spcAft>
                <a:spcPct val="10000"/>
              </a:spcAft>
              <a:buChar char="»"/>
              <a:defRPr sz="32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9pPr>
          </a:lstStyle>
          <a:p>
            <a:pPr algn="r" fontAlgn="b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altLang="de-DE" sz="12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Up Arrow 30">
            <a:extLst>
              <a:ext uri="{FF2B5EF4-FFF2-40B4-BE49-F238E27FC236}">
                <a16:creationId xmlns:a16="http://schemas.microsoft.com/office/drawing/2014/main" id="{BF129664-407A-4CB1-A14E-5C229C080CB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43337" y="3355010"/>
            <a:ext cx="481012" cy="792163"/>
          </a:xfrm>
          <a:prstGeom prst="upArrow">
            <a:avLst>
              <a:gd name="adj1" fmla="val 50000"/>
              <a:gd name="adj2" fmla="val 49909"/>
            </a:avLst>
          </a:prstGeom>
          <a:solidFill>
            <a:schemeClr val="bg1">
              <a:lumMod val="50000"/>
            </a:schemeClr>
          </a:solidFill>
          <a:ln>
            <a:noFill/>
          </a:ln>
        </p:spPr>
        <p:txBody>
          <a:bodyPr wrap="none" anchor="ctr">
            <a:spAutoFit/>
          </a:bodyPr>
          <a:lstStyle>
            <a:lvl1pPr>
              <a:lnSpc>
                <a:spcPct val="120000"/>
              </a:lnSpc>
              <a:spcBef>
                <a:spcPct val="30000"/>
              </a:spcBef>
              <a:spcAft>
                <a:spcPct val="10000"/>
              </a:spcAft>
              <a:buChar char="•"/>
              <a:defRPr sz="32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110000"/>
              </a:lnSpc>
              <a:spcBef>
                <a:spcPct val="20000"/>
              </a:spcBef>
              <a:spcAft>
                <a:spcPct val="10000"/>
              </a:spcAft>
              <a:buChar char="-"/>
              <a:defRPr sz="28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spcAft>
                <a:spcPct val="10000"/>
              </a:spcAft>
              <a:buChar char="•"/>
              <a:defRPr sz="24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spcAft>
                <a:spcPct val="10000"/>
              </a:spcAft>
              <a:buChar char="–"/>
              <a:defRPr sz="20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15000"/>
              </a:spcBef>
              <a:spcAft>
                <a:spcPct val="10000"/>
              </a:spcAft>
              <a:buChar char="»"/>
              <a:defRPr sz="32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15000"/>
              </a:spcBef>
              <a:spcAft>
                <a:spcPct val="10000"/>
              </a:spcAft>
              <a:buChar char="»"/>
              <a:defRPr sz="32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15000"/>
              </a:spcBef>
              <a:spcAft>
                <a:spcPct val="10000"/>
              </a:spcAft>
              <a:buChar char="»"/>
              <a:defRPr sz="32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15000"/>
              </a:spcBef>
              <a:spcAft>
                <a:spcPct val="10000"/>
              </a:spcAft>
              <a:buChar char="»"/>
              <a:defRPr sz="32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15000"/>
              </a:spcBef>
              <a:spcAft>
                <a:spcPct val="10000"/>
              </a:spcAft>
              <a:buChar char="»"/>
              <a:defRPr sz="32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9pPr>
          </a:lstStyle>
          <a:p>
            <a:pPr algn="r" fontAlgn="b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altLang="de-DE" sz="12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extBox 31">
            <a:extLst>
              <a:ext uri="{FF2B5EF4-FFF2-40B4-BE49-F238E27FC236}">
                <a16:creationId xmlns:a16="http://schemas.microsoft.com/office/drawing/2014/main" id="{2482428C-2968-4D94-ABC8-99B81FE6288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443287" y="4229723"/>
            <a:ext cx="1152525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120000"/>
              </a:lnSpc>
              <a:spcBef>
                <a:spcPct val="30000"/>
              </a:spcBef>
              <a:spcAft>
                <a:spcPct val="10000"/>
              </a:spcAft>
              <a:buChar char="•"/>
              <a:defRPr sz="32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110000"/>
              </a:lnSpc>
              <a:spcBef>
                <a:spcPct val="20000"/>
              </a:spcBef>
              <a:spcAft>
                <a:spcPct val="10000"/>
              </a:spcAft>
              <a:buChar char="-"/>
              <a:defRPr sz="28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spcAft>
                <a:spcPct val="10000"/>
              </a:spcAft>
              <a:buChar char="•"/>
              <a:defRPr sz="24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spcAft>
                <a:spcPct val="10000"/>
              </a:spcAft>
              <a:buChar char="–"/>
              <a:defRPr sz="20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15000"/>
              </a:spcBef>
              <a:spcAft>
                <a:spcPct val="10000"/>
              </a:spcAft>
              <a:buChar char="»"/>
              <a:defRPr sz="32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15000"/>
              </a:spcBef>
              <a:spcAft>
                <a:spcPct val="10000"/>
              </a:spcAft>
              <a:buChar char="»"/>
              <a:defRPr sz="32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15000"/>
              </a:spcBef>
              <a:spcAft>
                <a:spcPct val="10000"/>
              </a:spcAft>
              <a:buChar char="»"/>
              <a:defRPr sz="32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15000"/>
              </a:spcBef>
              <a:spcAft>
                <a:spcPct val="10000"/>
              </a:spcAft>
              <a:buChar char="»"/>
              <a:defRPr sz="32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15000"/>
              </a:spcBef>
              <a:spcAft>
                <a:spcPct val="10000"/>
              </a:spcAft>
              <a:buChar char="»"/>
              <a:defRPr sz="32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de-DE" altLang="de-DE"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. #1</a:t>
            </a:r>
          </a:p>
        </p:txBody>
      </p:sp>
      <p:sp>
        <p:nvSpPr>
          <p:cNvPr id="27" name="Up Arrow 32">
            <a:extLst>
              <a:ext uri="{FF2B5EF4-FFF2-40B4-BE49-F238E27FC236}">
                <a16:creationId xmlns:a16="http://schemas.microsoft.com/office/drawing/2014/main" id="{F133BA02-4F84-4126-AB3A-2D27047C5F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26487" y="4421810"/>
            <a:ext cx="479425" cy="792163"/>
          </a:xfrm>
          <a:prstGeom prst="upArrow">
            <a:avLst>
              <a:gd name="adj1" fmla="val 50000"/>
              <a:gd name="adj2" fmla="val 50074"/>
            </a:avLst>
          </a:prstGeom>
          <a:solidFill>
            <a:schemeClr val="bg1">
              <a:lumMod val="50000"/>
            </a:schemeClr>
          </a:solidFill>
          <a:ln>
            <a:noFill/>
          </a:ln>
        </p:spPr>
        <p:txBody>
          <a:bodyPr wrap="none" anchor="ctr">
            <a:spAutoFit/>
          </a:bodyPr>
          <a:lstStyle>
            <a:lvl1pPr>
              <a:lnSpc>
                <a:spcPct val="120000"/>
              </a:lnSpc>
              <a:spcBef>
                <a:spcPct val="30000"/>
              </a:spcBef>
              <a:spcAft>
                <a:spcPct val="10000"/>
              </a:spcAft>
              <a:buChar char="•"/>
              <a:defRPr sz="32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110000"/>
              </a:lnSpc>
              <a:spcBef>
                <a:spcPct val="20000"/>
              </a:spcBef>
              <a:spcAft>
                <a:spcPct val="10000"/>
              </a:spcAft>
              <a:buChar char="-"/>
              <a:defRPr sz="28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spcAft>
                <a:spcPct val="10000"/>
              </a:spcAft>
              <a:buChar char="•"/>
              <a:defRPr sz="24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spcAft>
                <a:spcPct val="10000"/>
              </a:spcAft>
              <a:buChar char="–"/>
              <a:defRPr sz="20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15000"/>
              </a:spcBef>
              <a:spcAft>
                <a:spcPct val="10000"/>
              </a:spcAft>
              <a:buChar char="»"/>
              <a:defRPr sz="32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15000"/>
              </a:spcBef>
              <a:spcAft>
                <a:spcPct val="10000"/>
              </a:spcAft>
              <a:buChar char="»"/>
              <a:defRPr sz="32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15000"/>
              </a:spcBef>
              <a:spcAft>
                <a:spcPct val="10000"/>
              </a:spcAft>
              <a:buChar char="»"/>
              <a:defRPr sz="32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15000"/>
              </a:spcBef>
              <a:spcAft>
                <a:spcPct val="10000"/>
              </a:spcAft>
              <a:buChar char="»"/>
              <a:defRPr sz="32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15000"/>
              </a:spcBef>
              <a:spcAft>
                <a:spcPct val="10000"/>
              </a:spcAft>
              <a:buChar char="»"/>
              <a:defRPr sz="32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9pPr>
          </a:lstStyle>
          <a:p>
            <a:pPr algn="r" fontAlgn="b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altLang="de-DE" sz="12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TextBox 33">
            <a:extLst>
              <a:ext uri="{FF2B5EF4-FFF2-40B4-BE49-F238E27FC236}">
                <a16:creationId xmlns:a16="http://schemas.microsoft.com/office/drawing/2014/main" id="{52AE5384-B896-4F1D-9814-76AA41C0695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24849" y="5296523"/>
            <a:ext cx="1154113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120000"/>
              </a:lnSpc>
              <a:spcBef>
                <a:spcPct val="30000"/>
              </a:spcBef>
              <a:spcAft>
                <a:spcPct val="10000"/>
              </a:spcAft>
              <a:buChar char="•"/>
              <a:defRPr sz="32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110000"/>
              </a:lnSpc>
              <a:spcBef>
                <a:spcPct val="20000"/>
              </a:spcBef>
              <a:spcAft>
                <a:spcPct val="10000"/>
              </a:spcAft>
              <a:buChar char="-"/>
              <a:defRPr sz="28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spcAft>
                <a:spcPct val="10000"/>
              </a:spcAft>
              <a:buChar char="•"/>
              <a:defRPr sz="24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spcAft>
                <a:spcPct val="10000"/>
              </a:spcAft>
              <a:buChar char="–"/>
              <a:defRPr sz="20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15000"/>
              </a:spcBef>
              <a:spcAft>
                <a:spcPct val="10000"/>
              </a:spcAft>
              <a:buChar char="»"/>
              <a:defRPr sz="32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15000"/>
              </a:spcBef>
              <a:spcAft>
                <a:spcPct val="10000"/>
              </a:spcAft>
              <a:buChar char="»"/>
              <a:defRPr sz="32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15000"/>
              </a:spcBef>
              <a:spcAft>
                <a:spcPct val="10000"/>
              </a:spcAft>
              <a:buChar char="»"/>
              <a:defRPr sz="32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15000"/>
              </a:spcBef>
              <a:spcAft>
                <a:spcPct val="10000"/>
              </a:spcAft>
              <a:buChar char="»"/>
              <a:defRPr sz="32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15000"/>
              </a:spcBef>
              <a:spcAft>
                <a:spcPct val="10000"/>
              </a:spcAft>
              <a:buChar char="»"/>
              <a:defRPr sz="3200">
                <a:solidFill>
                  <a:srgbClr val="3333CC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de-DE" altLang="de-DE"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. #2</a:t>
            </a:r>
          </a:p>
        </p:txBody>
      </p:sp>
    </p:spTree>
    <p:extLst>
      <p:ext uri="{BB962C8B-B14F-4D97-AF65-F5344CB8AC3E}">
        <p14:creationId xmlns:p14="http://schemas.microsoft.com/office/powerpoint/2010/main" val="1611071713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DB2FCD68-BD01-42AA-8C0E-8528FA70B16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" name="think-cell Folie" r:id="rId4" imgW="425" imgH="424" progId="TCLayout.ActiveDocument.1">
                  <p:embed/>
                </p:oleObj>
              </mc:Choice>
              <mc:Fallback>
                <p:oleObj name="think-cell Folie" r:id="rId4" imgW="425" imgH="42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DB2FCD68-BD01-42AA-8C0E-8528FA70B1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6" name="Rechteck 245">
            <a:extLst>
              <a:ext uri="{FF2B5EF4-FFF2-40B4-BE49-F238E27FC236}">
                <a16:creationId xmlns:a16="http://schemas.microsoft.com/office/drawing/2014/main" id="{9ADF2085-EAC0-480E-AD1B-9D5494B9ECFD}"/>
              </a:ext>
            </a:extLst>
          </p:cNvPr>
          <p:cNvSpPr/>
          <p:nvPr/>
        </p:nvSpPr>
        <p:spPr>
          <a:xfrm>
            <a:off x="298073" y="1495559"/>
            <a:ext cx="2265931" cy="471206"/>
          </a:xfrm>
          <a:prstGeom prst="rect">
            <a:avLst/>
          </a:prstGeom>
          <a:solidFill>
            <a:srgbClr val="44546A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endParaRPr lang="en-US" sz="1600" baseline="-25000" dirty="0">
              <a:solidFill>
                <a:srgbClr val="00549F"/>
              </a:solidFill>
            </a:endParaRP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8BDE114D-8128-4A67-8A8B-3FDCF2B7A7A1}"/>
              </a:ext>
            </a:extLst>
          </p:cNvPr>
          <p:cNvSpPr/>
          <p:nvPr/>
        </p:nvSpPr>
        <p:spPr>
          <a:xfrm>
            <a:off x="7911552" y="6091538"/>
            <a:ext cx="2975523" cy="760490"/>
          </a:xfrm>
          <a:prstGeom prst="rect">
            <a:avLst/>
          </a:prstGeom>
          <a:solidFill>
            <a:srgbClr val="0054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10" name="Rectangle 246">
            <a:extLst>
              <a:ext uri="{FF2B5EF4-FFF2-40B4-BE49-F238E27FC236}">
                <a16:creationId xmlns:a16="http://schemas.microsoft.com/office/drawing/2014/main" id="{741D5BCA-5CD1-4E72-9C6B-7BF8A554E22C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10887075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de-DE"/>
          </a:p>
        </p:txBody>
      </p:sp>
      <p:sp>
        <p:nvSpPr>
          <p:cNvPr id="338" name="Textfeld 337">
            <a:extLst>
              <a:ext uri="{FF2B5EF4-FFF2-40B4-BE49-F238E27FC236}">
                <a16:creationId xmlns:a16="http://schemas.microsoft.com/office/drawing/2014/main" id="{A0643DC1-D453-4F6F-B008-12611F2FA89F}"/>
              </a:ext>
            </a:extLst>
          </p:cNvPr>
          <p:cNvSpPr txBox="1"/>
          <p:nvPr/>
        </p:nvSpPr>
        <p:spPr>
          <a:xfrm>
            <a:off x="0" y="5168208"/>
            <a:ext cx="10429068" cy="769441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r>
              <a:rPr lang="en-US" sz="4400" b="1" dirty="0">
                <a:solidFill>
                  <a:schemeClr val="bg1"/>
                </a:solidFill>
                <a:latin typeface="Helvetica" panose="020B0604020202020204" pitchFamily="34" charset="0"/>
              </a:rPr>
              <a:t>	 Question itself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A30E5461-2710-4276-8B3A-28A6EDA8E508}"/>
              </a:ext>
            </a:extLst>
          </p:cNvPr>
          <p:cNvSpPr txBox="1"/>
          <p:nvPr/>
        </p:nvSpPr>
        <p:spPr>
          <a:xfrm>
            <a:off x="1" y="3859495"/>
            <a:ext cx="3228621" cy="830997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r>
              <a:rPr lang="en-US" sz="4800" b="1" dirty="0">
                <a:solidFill>
                  <a:schemeClr val="bg1"/>
                </a:solidFill>
                <a:latin typeface="Helvetica" panose="020B0604020202020204" pitchFamily="34" charset="0"/>
              </a:rPr>
              <a:t>	RQ’#?:</a:t>
            </a:r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655F51B2-A3D3-448C-AA3E-54272C51285B}"/>
              </a:ext>
            </a:extLst>
          </p:cNvPr>
          <p:cNvGrpSpPr/>
          <p:nvPr/>
        </p:nvGrpSpPr>
        <p:grpSpPr>
          <a:xfrm>
            <a:off x="5031219" y="2345987"/>
            <a:ext cx="5526797" cy="974035"/>
            <a:chOff x="162344" y="79513"/>
            <a:chExt cx="5526797" cy="974035"/>
          </a:xfrm>
        </p:grpSpPr>
        <p:sp>
          <p:nvSpPr>
            <p:cNvPr id="11" name="BondLine2">
              <a:extLst>
                <a:ext uri="{FF2B5EF4-FFF2-40B4-BE49-F238E27FC236}">
                  <a16:creationId xmlns:a16="http://schemas.microsoft.com/office/drawing/2014/main" id="{0C2E747D-0C92-4871-B616-767787A0F26D}"/>
                </a:ext>
              </a:extLst>
            </p:cNvPr>
            <p:cNvSpPr/>
            <p:nvPr/>
          </p:nvSpPr>
          <p:spPr>
            <a:xfrm>
              <a:off x="2794992" y="409361"/>
              <a:ext cx="164540" cy="94938"/>
            </a:xfrm>
            <a:custGeom>
              <a:avLst/>
              <a:gdLst/>
              <a:ahLst/>
              <a:cxnLst/>
              <a:rect l="l" t="t" r="r" b="b"/>
              <a:pathLst>
                <a:path w="164544" h="95000">
                  <a:moveTo>
                    <a:pt x="0" y="0"/>
                  </a:moveTo>
                  <a:lnTo>
                    <a:pt x="164544" y="9500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12" name="BondLine3">
              <a:extLst>
                <a:ext uri="{FF2B5EF4-FFF2-40B4-BE49-F238E27FC236}">
                  <a16:creationId xmlns:a16="http://schemas.microsoft.com/office/drawing/2014/main" id="{94353D96-8E3A-420F-B92A-0317DA6A6AF4}"/>
                </a:ext>
              </a:extLst>
            </p:cNvPr>
            <p:cNvSpPr/>
            <p:nvPr/>
          </p:nvSpPr>
          <p:spPr>
            <a:xfrm>
              <a:off x="2630452" y="409361"/>
              <a:ext cx="164540" cy="94938"/>
            </a:xfrm>
            <a:custGeom>
              <a:avLst/>
              <a:gdLst/>
              <a:ahLst/>
              <a:cxnLst/>
              <a:rect l="l" t="t" r="r" b="b"/>
              <a:pathLst>
                <a:path w="164544" h="95000">
                  <a:moveTo>
                    <a:pt x="0" y="95000"/>
                  </a:moveTo>
                  <a:lnTo>
                    <a:pt x="164544" y="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13" name="BondLine4">
              <a:extLst>
                <a:ext uri="{FF2B5EF4-FFF2-40B4-BE49-F238E27FC236}">
                  <a16:creationId xmlns:a16="http://schemas.microsoft.com/office/drawing/2014/main" id="{67449D36-A13E-4926-B444-99281FDFB2F6}"/>
                </a:ext>
              </a:extLst>
            </p:cNvPr>
            <p:cNvSpPr/>
            <p:nvPr/>
          </p:nvSpPr>
          <p:spPr>
            <a:xfrm>
              <a:off x="2668450" y="453211"/>
              <a:ext cx="126541" cy="73013"/>
            </a:xfrm>
            <a:custGeom>
              <a:avLst/>
              <a:gdLst/>
              <a:ahLst/>
              <a:cxnLst/>
              <a:rect l="l" t="t" r="r" b="b"/>
              <a:pathLst>
                <a:path w="126544" h="73060">
                  <a:moveTo>
                    <a:pt x="0" y="73060"/>
                  </a:moveTo>
                  <a:lnTo>
                    <a:pt x="126544" y="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14" name="BondLine5">
              <a:extLst>
                <a:ext uri="{FF2B5EF4-FFF2-40B4-BE49-F238E27FC236}">
                  <a16:creationId xmlns:a16="http://schemas.microsoft.com/office/drawing/2014/main" id="{659F039C-66A8-4A0C-AEC2-8EDF8E309C32}"/>
                </a:ext>
              </a:extLst>
            </p:cNvPr>
            <p:cNvSpPr/>
            <p:nvPr/>
          </p:nvSpPr>
          <p:spPr>
            <a:xfrm>
              <a:off x="2959533" y="504299"/>
              <a:ext cx="0" cy="189877"/>
            </a:xfrm>
            <a:custGeom>
              <a:avLst/>
              <a:gdLst/>
              <a:ahLst/>
              <a:cxnLst/>
              <a:rect l="l" t="t" r="r" b="b"/>
              <a:pathLst>
                <a:path h="190000">
                  <a:moveTo>
                    <a:pt x="0" y="0"/>
                  </a:moveTo>
                  <a:lnTo>
                    <a:pt x="0" y="19000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15" name="BondLine6">
              <a:extLst>
                <a:ext uri="{FF2B5EF4-FFF2-40B4-BE49-F238E27FC236}">
                  <a16:creationId xmlns:a16="http://schemas.microsoft.com/office/drawing/2014/main" id="{05620A18-4E19-4C6B-B08D-CF410F4B264D}"/>
                </a:ext>
              </a:extLst>
            </p:cNvPr>
            <p:cNvSpPr/>
            <p:nvPr/>
          </p:nvSpPr>
          <p:spPr>
            <a:xfrm>
              <a:off x="2921534" y="526224"/>
              <a:ext cx="0" cy="146026"/>
            </a:xfrm>
            <a:custGeom>
              <a:avLst/>
              <a:gdLst/>
              <a:ahLst/>
              <a:cxnLst/>
              <a:rect l="l" t="t" r="r" b="b"/>
              <a:pathLst>
                <a:path h="146121">
                  <a:moveTo>
                    <a:pt x="0" y="0"/>
                  </a:moveTo>
                  <a:lnTo>
                    <a:pt x="0" y="146121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16" name="BondLine7">
              <a:extLst>
                <a:ext uri="{FF2B5EF4-FFF2-40B4-BE49-F238E27FC236}">
                  <a16:creationId xmlns:a16="http://schemas.microsoft.com/office/drawing/2014/main" id="{75BE65AB-EEB4-40FA-B2F6-373666E48694}"/>
                </a:ext>
              </a:extLst>
            </p:cNvPr>
            <p:cNvSpPr/>
            <p:nvPr/>
          </p:nvSpPr>
          <p:spPr>
            <a:xfrm>
              <a:off x="2959533" y="409361"/>
              <a:ext cx="164540" cy="94938"/>
            </a:xfrm>
            <a:custGeom>
              <a:avLst/>
              <a:gdLst/>
              <a:ahLst/>
              <a:cxnLst/>
              <a:rect l="l" t="t" r="r" b="b"/>
              <a:pathLst>
                <a:path w="164544" h="95000">
                  <a:moveTo>
                    <a:pt x="0" y="95000"/>
                  </a:moveTo>
                  <a:lnTo>
                    <a:pt x="164544" y="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17" name="BondLine8">
              <a:extLst>
                <a:ext uri="{FF2B5EF4-FFF2-40B4-BE49-F238E27FC236}">
                  <a16:creationId xmlns:a16="http://schemas.microsoft.com/office/drawing/2014/main" id="{028AFB61-3067-4523-98A0-75FCC63BCE83}"/>
                </a:ext>
              </a:extLst>
            </p:cNvPr>
            <p:cNvSpPr/>
            <p:nvPr/>
          </p:nvSpPr>
          <p:spPr>
            <a:xfrm>
              <a:off x="2794992" y="694176"/>
              <a:ext cx="164540" cy="94938"/>
            </a:xfrm>
            <a:custGeom>
              <a:avLst/>
              <a:gdLst/>
              <a:ahLst/>
              <a:cxnLst/>
              <a:rect l="l" t="t" r="r" b="b"/>
              <a:pathLst>
                <a:path w="164544" h="95000">
                  <a:moveTo>
                    <a:pt x="164544" y="0"/>
                  </a:moveTo>
                  <a:lnTo>
                    <a:pt x="0" y="9500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18" name="BondLine9">
              <a:extLst>
                <a:ext uri="{FF2B5EF4-FFF2-40B4-BE49-F238E27FC236}">
                  <a16:creationId xmlns:a16="http://schemas.microsoft.com/office/drawing/2014/main" id="{4E569B79-2415-41C2-9CAB-F72947B1860C}"/>
                </a:ext>
              </a:extLst>
            </p:cNvPr>
            <p:cNvSpPr/>
            <p:nvPr/>
          </p:nvSpPr>
          <p:spPr>
            <a:xfrm>
              <a:off x="2630452" y="694176"/>
              <a:ext cx="164540" cy="94938"/>
            </a:xfrm>
            <a:custGeom>
              <a:avLst/>
              <a:gdLst/>
              <a:ahLst/>
              <a:cxnLst/>
              <a:rect l="l" t="t" r="r" b="b"/>
              <a:pathLst>
                <a:path w="164544" h="95000">
                  <a:moveTo>
                    <a:pt x="164544" y="95000"/>
                  </a:moveTo>
                  <a:lnTo>
                    <a:pt x="0" y="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20" name="BondLine10">
              <a:extLst>
                <a:ext uri="{FF2B5EF4-FFF2-40B4-BE49-F238E27FC236}">
                  <a16:creationId xmlns:a16="http://schemas.microsoft.com/office/drawing/2014/main" id="{B3745F69-0306-46D6-961E-8480C8AF11E9}"/>
                </a:ext>
              </a:extLst>
            </p:cNvPr>
            <p:cNvSpPr/>
            <p:nvPr/>
          </p:nvSpPr>
          <p:spPr>
            <a:xfrm>
              <a:off x="2668451" y="672251"/>
              <a:ext cx="126541" cy="73013"/>
            </a:xfrm>
            <a:custGeom>
              <a:avLst/>
              <a:gdLst/>
              <a:ahLst/>
              <a:cxnLst/>
              <a:rect l="l" t="t" r="r" b="b"/>
              <a:pathLst>
                <a:path w="126544" h="73060">
                  <a:moveTo>
                    <a:pt x="126544" y="73060"/>
                  </a:moveTo>
                  <a:lnTo>
                    <a:pt x="0" y="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21" name="BondLine11">
              <a:extLst>
                <a:ext uri="{FF2B5EF4-FFF2-40B4-BE49-F238E27FC236}">
                  <a16:creationId xmlns:a16="http://schemas.microsoft.com/office/drawing/2014/main" id="{6599F0DA-39F4-4262-BC2B-489A1E260EF1}"/>
                </a:ext>
              </a:extLst>
            </p:cNvPr>
            <p:cNvSpPr/>
            <p:nvPr/>
          </p:nvSpPr>
          <p:spPr>
            <a:xfrm>
              <a:off x="2630452" y="504299"/>
              <a:ext cx="0" cy="189877"/>
            </a:xfrm>
            <a:custGeom>
              <a:avLst/>
              <a:gdLst/>
              <a:ahLst/>
              <a:cxnLst/>
              <a:rect l="l" t="t" r="r" b="b"/>
              <a:pathLst>
                <a:path h="190000">
                  <a:moveTo>
                    <a:pt x="0" y="190000"/>
                  </a:moveTo>
                  <a:lnTo>
                    <a:pt x="0" y="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22" name="BondLine12">
              <a:extLst>
                <a:ext uri="{FF2B5EF4-FFF2-40B4-BE49-F238E27FC236}">
                  <a16:creationId xmlns:a16="http://schemas.microsoft.com/office/drawing/2014/main" id="{F5CB5045-9318-4C8B-9EFB-D4324DF50D31}"/>
                </a:ext>
              </a:extLst>
            </p:cNvPr>
            <p:cNvSpPr/>
            <p:nvPr/>
          </p:nvSpPr>
          <p:spPr>
            <a:xfrm>
              <a:off x="2520503" y="694176"/>
              <a:ext cx="109948" cy="63439"/>
            </a:xfrm>
            <a:custGeom>
              <a:avLst/>
              <a:gdLst/>
              <a:ahLst/>
              <a:cxnLst/>
              <a:rect l="l" t="t" r="r" b="b"/>
              <a:pathLst>
                <a:path w="109951" h="63480">
                  <a:moveTo>
                    <a:pt x="109951" y="0"/>
                  </a:moveTo>
                  <a:lnTo>
                    <a:pt x="0" y="6348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23" name="BondLine13">
              <a:extLst>
                <a:ext uri="{FF2B5EF4-FFF2-40B4-BE49-F238E27FC236}">
                  <a16:creationId xmlns:a16="http://schemas.microsoft.com/office/drawing/2014/main" id="{AEC79894-A3B0-438C-99B4-3E3C721AB6C0}"/>
                </a:ext>
              </a:extLst>
            </p:cNvPr>
            <p:cNvSpPr/>
            <p:nvPr/>
          </p:nvSpPr>
          <p:spPr>
            <a:xfrm>
              <a:off x="2320370" y="705138"/>
              <a:ext cx="90949" cy="52476"/>
            </a:xfrm>
            <a:custGeom>
              <a:avLst/>
              <a:gdLst/>
              <a:ahLst/>
              <a:cxnLst/>
              <a:rect l="l" t="t" r="r" b="b"/>
              <a:pathLst>
                <a:path w="90951" h="52510">
                  <a:moveTo>
                    <a:pt x="90951" y="52510"/>
                  </a:moveTo>
                  <a:lnTo>
                    <a:pt x="0" y="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24" name="BondLine14">
              <a:extLst>
                <a:ext uri="{FF2B5EF4-FFF2-40B4-BE49-F238E27FC236}">
                  <a16:creationId xmlns:a16="http://schemas.microsoft.com/office/drawing/2014/main" id="{4CCB0C68-77E6-413C-8E4C-A2EB5DFC5A64}"/>
                </a:ext>
              </a:extLst>
            </p:cNvPr>
            <p:cNvSpPr/>
            <p:nvPr/>
          </p:nvSpPr>
          <p:spPr>
            <a:xfrm>
              <a:off x="2191423" y="705138"/>
              <a:ext cx="90948" cy="52476"/>
            </a:xfrm>
            <a:custGeom>
              <a:avLst/>
              <a:gdLst/>
              <a:ahLst/>
              <a:cxnLst/>
              <a:rect l="l" t="t" r="r" b="b"/>
              <a:pathLst>
                <a:path w="90950" h="52510">
                  <a:moveTo>
                    <a:pt x="90950" y="0"/>
                  </a:moveTo>
                  <a:lnTo>
                    <a:pt x="0" y="5251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25" name="BondLine15">
              <a:extLst>
                <a:ext uri="{FF2B5EF4-FFF2-40B4-BE49-F238E27FC236}">
                  <a16:creationId xmlns:a16="http://schemas.microsoft.com/office/drawing/2014/main" id="{E0E44B09-D9F4-425A-BA0C-D6FEFEBF0CE2}"/>
                </a:ext>
              </a:extLst>
            </p:cNvPr>
            <p:cNvSpPr/>
            <p:nvPr/>
          </p:nvSpPr>
          <p:spPr>
            <a:xfrm>
              <a:off x="2320370" y="563883"/>
              <a:ext cx="0" cy="141254"/>
            </a:xfrm>
            <a:custGeom>
              <a:avLst/>
              <a:gdLst/>
              <a:ahLst/>
              <a:cxnLst/>
              <a:rect l="l" t="t" r="r" b="b"/>
              <a:pathLst>
                <a:path h="141346">
                  <a:moveTo>
                    <a:pt x="0" y="141346"/>
                  </a:moveTo>
                  <a:lnTo>
                    <a:pt x="0" y="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26" name="BondLine16">
              <a:extLst>
                <a:ext uri="{FF2B5EF4-FFF2-40B4-BE49-F238E27FC236}">
                  <a16:creationId xmlns:a16="http://schemas.microsoft.com/office/drawing/2014/main" id="{B12F6057-D012-4AA7-BDFF-CC70FA41C086}"/>
                </a:ext>
              </a:extLst>
            </p:cNvPr>
            <p:cNvSpPr/>
            <p:nvPr/>
          </p:nvSpPr>
          <p:spPr>
            <a:xfrm>
              <a:off x="2282371" y="563883"/>
              <a:ext cx="0" cy="141255"/>
            </a:xfrm>
            <a:custGeom>
              <a:avLst/>
              <a:gdLst/>
              <a:ahLst/>
              <a:cxnLst/>
              <a:rect l="l" t="t" r="r" b="b"/>
              <a:pathLst>
                <a:path h="141347">
                  <a:moveTo>
                    <a:pt x="0" y="141347"/>
                  </a:moveTo>
                  <a:lnTo>
                    <a:pt x="0" y="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27" name="BondLine17">
              <a:extLst>
                <a:ext uri="{FF2B5EF4-FFF2-40B4-BE49-F238E27FC236}">
                  <a16:creationId xmlns:a16="http://schemas.microsoft.com/office/drawing/2014/main" id="{959E99B2-8AEA-4E4B-BE01-8B3CBB5BBA0F}"/>
                </a:ext>
              </a:extLst>
            </p:cNvPr>
            <p:cNvSpPr/>
            <p:nvPr/>
          </p:nvSpPr>
          <p:spPr>
            <a:xfrm>
              <a:off x="1972290" y="694176"/>
              <a:ext cx="109948" cy="63439"/>
            </a:xfrm>
            <a:custGeom>
              <a:avLst/>
              <a:gdLst/>
              <a:ahLst/>
              <a:cxnLst/>
              <a:rect l="l" t="t" r="r" b="b"/>
              <a:pathLst>
                <a:path w="109951" h="63480">
                  <a:moveTo>
                    <a:pt x="109951" y="63480"/>
                  </a:moveTo>
                  <a:lnTo>
                    <a:pt x="0" y="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28" name="BondLine18">
              <a:extLst>
                <a:ext uri="{FF2B5EF4-FFF2-40B4-BE49-F238E27FC236}">
                  <a16:creationId xmlns:a16="http://schemas.microsoft.com/office/drawing/2014/main" id="{E7B1302E-D0DA-4FD2-A33D-EBD3A402248E}"/>
                </a:ext>
              </a:extLst>
            </p:cNvPr>
            <p:cNvSpPr/>
            <p:nvPr/>
          </p:nvSpPr>
          <p:spPr>
            <a:xfrm>
              <a:off x="1807750" y="694176"/>
              <a:ext cx="164540" cy="94938"/>
            </a:xfrm>
            <a:custGeom>
              <a:avLst/>
              <a:gdLst/>
              <a:ahLst/>
              <a:cxnLst/>
              <a:rect l="l" t="t" r="r" b="b"/>
              <a:pathLst>
                <a:path w="164544" h="95000">
                  <a:moveTo>
                    <a:pt x="164544" y="0"/>
                  </a:moveTo>
                  <a:lnTo>
                    <a:pt x="0" y="9500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29" name="BondLine19">
              <a:extLst>
                <a:ext uri="{FF2B5EF4-FFF2-40B4-BE49-F238E27FC236}">
                  <a16:creationId xmlns:a16="http://schemas.microsoft.com/office/drawing/2014/main" id="{4334066E-CF54-41F3-9E6C-B2062D29B675}"/>
                </a:ext>
              </a:extLst>
            </p:cNvPr>
            <p:cNvSpPr/>
            <p:nvPr/>
          </p:nvSpPr>
          <p:spPr>
            <a:xfrm>
              <a:off x="1972290" y="504299"/>
              <a:ext cx="0" cy="189877"/>
            </a:xfrm>
            <a:custGeom>
              <a:avLst/>
              <a:gdLst/>
              <a:ahLst/>
              <a:cxnLst/>
              <a:rect l="l" t="t" r="r" b="b"/>
              <a:pathLst>
                <a:path h="190000">
                  <a:moveTo>
                    <a:pt x="0" y="0"/>
                  </a:moveTo>
                  <a:lnTo>
                    <a:pt x="0" y="19000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30" name="BondLine20">
              <a:extLst>
                <a:ext uri="{FF2B5EF4-FFF2-40B4-BE49-F238E27FC236}">
                  <a16:creationId xmlns:a16="http://schemas.microsoft.com/office/drawing/2014/main" id="{D4E54EA5-D7C7-4599-BFE0-90CAAE1F0EC7}"/>
                </a:ext>
              </a:extLst>
            </p:cNvPr>
            <p:cNvSpPr/>
            <p:nvPr/>
          </p:nvSpPr>
          <p:spPr>
            <a:xfrm>
              <a:off x="1934291" y="526224"/>
              <a:ext cx="0" cy="146026"/>
            </a:xfrm>
            <a:custGeom>
              <a:avLst/>
              <a:gdLst/>
              <a:ahLst/>
              <a:cxnLst/>
              <a:rect l="l" t="t" r="r" b="b"/>
              <a:pathLst>
                <a:path h="146121">
                  <a:moveTo>
                    <a:pt x="0" y="0"/>
                  </a:moveTo>
                  <a:lnTo>
                    <a:pt x="0" y="146121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31" name="BondLine21">
              <a:extLst>
                <a:ext uri="{FF2B5EF4-FFF2-40B4-BE49-F238E27FC236}">
                  <a16:creationId xmlns:a16="http://schemas.microsoft.com/office/drawing/2014/main" id="{9FF97E02-030F-4CE8-B9D9-963FC8F785D0}"/>
                </a:ext>
              </a:extLst>
            </p:cNvPr>
            <p:cNvSpPr/>
            <p:nvPr/>
          </p:nvSpPr>
          <p:spPr>
            <a:xfrm>
              <a:off x="1643209" y="694176"/>
              <a:ext cx="164541" cy="94938"/>
            </a:xfrm>
            <a:custGeom>
              <a:avLst/>
              <a:gdLst/>
              <a:ahLst/>
              <a:cxnLst/>
              <a:rect l="l" t="t" r="r" b="b"/>
              <a:pathLst>
                <a:path w="164545" h="95000">
                  <a:moveTo>
                    <a:pt x="164545" y="95000"/>
                  </a:moveTo>
                  <a:lnTo>
                    <a:pt x="0" y="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32" name="BondLine22">
              <a:extLst>
                <a:ext uri="{FF2B5EF4-FFF2-40B4-BE49-F238E27FC236}">
                  <a16:creationId xmlns:a16="http://schemas.microsoft.com/office/drawing/2014/main" id="{7BB8A748-DA11-4460-AB4D-FB215D7E9AB3}"/>
                </a:ext>
              </a:extLst>
            </p:cNvPr>
            <p:cNvSpPr/>
            <p:nvPr/>
          </p:nvSpPr>
          <p:spPr>
            <a:xfrm>
              <a:off x="1681208" y="672251"/>
              <a:ext cx="126542" cy="73013"/>
            </a:xfrm>
            <a:custGeom>
              <a:avLst/>
              <a:gdLst/>
              <a:ahLst/>
              <a:cxnLst/>
              <a:rect l="l" t="t" r="r" b="b"/>
              <a:pathLst>
                <a:path w="126545" h="73060">
                  <a:moveTo>
                    <a:pt x="126545" y="73060"/>
                  </a:moveTo>
                  <a:lnTo>
                    <a:pt x="0" y="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33" name="BondLine23">
              <a:extLst>
                <a:ext uri="{FF2B5EF4-FFF2-40B4-BE49-F238E27FC236}">
                  <a16:creationId xmlns:a16="http://schemas.microsoft.com/office/drawing/2014/main" id="{F9685286-7428-4760-9AFC-F6F9F92CEF5A}"/>
                </a:ext>
              </a:extLst>
            </p:cNvPr>
            <p:cNvSpPr/>
            <p:nvPr/>
          </p:nvSpPr>
          <p:spPr>
            <a:xfrm>
              <a:off x="1643209" y="504299"/>
              <a:ext cx="0" cy="189877"/>
            </a:xfrm>
            <a:custGeom>
              <a:avLst/>
              <a:gdLst/>
              <a:ahLst/>
              <a:cxnLst/>
              <a:rect l="l" t="t" r="r" b="b"/>
              <a:pathLst>
                <a:path h="190000">
                  <a:moveTo>
                    <a:pt x="0" y="190000"/>
                  </a:moveTo>
                  <a:lnTo>
                    <a:pt x="0" y="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34" name="BondLine24">
              <a:extLst>
                <a:ext uri="{FF2B5EF4-FFF2-40B4-BE49-F238E27FC236}">
                  <a16:creationId xmlns:a16="http://schemas.microsoft.com/office/drawing/2014/main" id="{90C3DAA9-ECA3-4EDD-9724-3D6F3F56BD4C}"/>
                </a:ext>
              </a:extLst>
            </p:cNvPr>
            <p:cNvSpPr/>
            <p:nvPr/>
          </p:nvSpPr>
          <p:spPr>
            <a:xfrm>
              <a:off x="1643209" y="409361"/>
              <a:ext cx="164541" cy="94938"/>
            </a:xfrm>
            <a:custGeom>
              <a:avLst/>
              <a:gdLst/>
              <a:ahLst/>
              <a:cxnLst/>
              <a:rect l="l" t="t" r="r" b="b"/>
              <a:pathLst>
                <a:path w="164545" h="95000">
                  <a:moveTo>
                    <a:pt x="0" y="95000"/>
                  </a:moveTo>
                  <a:lnTo>
                    <a:pt x="164545" y="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35" name="BondLine25">
              <a:extLst>
                <a:ext uri="{FF2B5EF4-FFF2-40B4-BE49-F238E27FC236}">
                  <a16:creationId xmlns:a16="http://schemas.microsoft.com/office/drawing/2014/main" id="{2D017F1D-1E10-4FCF-9519-F4D76206E640}"/>
                </a:ext>
              </a:extLst>
            </p:cNvPr>
            <p:cNvSpPr/>
            <p:nvPr/>
          </p:nvSpPr>
          <p:spPr>
            <a:xfrm>
              <a:off x="1681208" y="453211"/>
              <a:ext cx="126542" cy="73013"/>
            </a:xfrm>
            <a:custGeom>
              <a:avLst/>
              <a:gdLst/>
              <a:ahLst/>
              <a:cxnLst/>
              <a:rect l="l" t="t" r="r" b="b"/>
              <a:pathLst>
                <a:path w="126545" h="73060">
                  <a:moveTo>
                    <a:pt x="0" y="73060"/>
                  </a:moveTo>
                  <a:lnTo>
                    <a:pt x="126545" y="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36" name="BondLine26">
              <a:extLst>
                <a:ext uri="{FF2B5EF4-FFF2-40B4-BE49-F238E27FC236}">
                  <a16:creationId xmlns:a16="http://schemas.microsoft.com/office/drawing/2014/main" id="{C91BD9B7-1288-4229-8D00-AAC646A35168}"/>
                </a:ext>
              </a:extLst>
            </p:cNvPr>
            <p:cNvSpPr/>
            <p:nvPr/>
          </p:nvSpPr>
          <p:spPr>
            <a:xfrm>
              <a:off x="1478668" y="409361"/>
              <a:ext cx="164540" cy="94938"/>
            </a:xfrm>
            <a:custGeom>
              <a:avLst/>
              <a:gdLst/>
              <a:ahLst/>
              <a:cxnLst/>
              <a:rect l="l" t="t" r="r" b="b"/>
              <a:pathLst>
                <a:path w="164544" h="95000">
                  <a:moveTo>
                    <a:pt x="164544" y="95000"/>
                  </a:moveTo>
                  <a:lnTo>
                    <a:pt x="0" y="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37" name="BondLine27">
              <a:extLst>
                <a:ext uri="{FF2B5EF4-FFF2-40B4-BE49-F238E27FC236}">
                  <a16:creationId xmlns:a16="http://schemas.microsoft.com/office/drawing/2014/main" id="{C0D844BB-B3C8-4E38-8527-AA073B7AE953}"/>
                </a:ext>
              </a:extLst>
            </p:cNvPr>
            <p:cNvSpPr/>
            <p:nvPr/>
          </p:nvSpPr>
          <p:spPr>
            <a:xfrm>
              <a:off x="1807750" y="409361"/>
              <a:ext cx="164540" cy="94938"/>
            </a:xfrm>
            <a:custGeom>
              <a:avLst/>
              <a:gdLst/>
              <a:ahLst/>
              <a:cxnLst/>
              <a:rect l="l" t="t" r="r" b="b"/>
              <a:pathLst>
                <a:path w="164544" h="95000">
                  <a:moveTo>
                    <a:pt x="0" y="0"/>
                  </a:moveTo>
                  <a:lnTo>
                    <a:pt x="164544" y="9500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38" name="BondLine28">
              <a:extLst>
                <a:ext uri="{FF2B5EF4-FFF2-40B4-BE49-F238E27FC236}">
                  <a16:creationId xmlns:a16="http://schemas.microsoft.com/office/drawing/2014/main" id="{4E386A7F-A5C5-4B9F-9B68-D1B70027F10D}"/>
                </a:ext>
              </a:extLst>
            </p:cNvPr>
            <p:cNvSpPr/>
            <p:nvPr/>
          </p:nvSpPr>
          <p:spPr>
            <a:xfrm>
              <a:off x="1314128" y="409361"/>
              <a:ext cx="164540" cy="94938"/>
            </a:xfrm>
            <a:custGeom>
              <a:avLst/>
              <a:gdLst/>
              <a:ahLst/>
              <a:cxnLst/>
              <a:rect l="l" t="t" r="r" b="b"/>
              <a:pathLst>
                <a:path w="164544" h="95000">
                  <a:moveTo>
                    <a:pt x="164544" y="0"/>
                  </a:moveTo>
                  <a:lnTo>
                    <a:pt x="0" y="9500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39" name="BondLine29">
              <a:extLst>
                <a:ext uri="{FF2B5EF4-FFF2-40B4-BE49-F238E27FC236}">
                  <a16:creationId xmlns:a16="http://schemas.microsoft.com/office/drawing/2014/main" id="{8F13A3C8-A206-47A7-AFCC-56B8B63E0397}"/>
                </a:ext>
              </a:extLst>
            </p:cNvPr>
            <p:cNvSpPr/>
            <p:nvPr/>
          </p:nvSpPr>
          <p:spPr>
            <a:xfrm>
              <a:off x="1478668" y="283625"/>
              <a:ext cx="0" cy="125735"/>
            </a:xfrm>
            <a:custGeom>
              <a:avLst/>
              <a:gdLst/>
              <a:ahLst/>
              <a:cxnLst/>
              <a:rect l="l" t="t" r="r" b="b"/>
              <a:pathLst>
                <a:path h="125817">
                  <a:moveTo>
                    <a:pt x="0" y="125817"/>
                  </a:moveTo>
                  <a:lnTo>
                    <a:pt x="0" y="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40" name="BondLine30">
              <a:extLst>
                <a:ext uri="{FF2B5EF4-FFF2-40B4-BE49-F238E27FC236}">
                  <a16:creationId xmlns:a16="http://schemas.microsoft.com/office/drawing/2014/main" id="{987C91E8-2812-431C-96EB-2A8A001689A0}"/>
                </a:ext>
              </a:extLst>
            </p:cNvPr>
            <p:cNvSpPr/>
            <p:nvPr/>
          </p:nvSpPr>
          <p:spPr>
            <a:xfrm>
              <a:off x="1365488" y="344056"/>
              <a:ext cx="113179" cy="65304"/>
            </a:xfrm>
            <a:custGeom>
              <a:avLst/>
              <a:gdLst/>
              <a:ahLst/>
              <a:cxnLst/>
              <a:rect l="l" t="t" r="r" b="b"/>
              <a:pathLst>
                <a:path w="113182" h="65346">
                  <a:moveTo>
                    <a:pt x="113182" y="65346"/>
                  </a:moveTo>
                  <a:lnTo>
                    <a:pt x="0" y="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41" name="BondLine31">
              <a:extLst>
                <a:ext uri="{FF2B5EF4-FFF2-40B4-BE49-F238E27FC236}">
                  <a16:creationId xmlns:a16="http://schemas.microsoft.com/office/drawing/2014/main" id="{87F3A0B7-4717-4C4C-A3B8-1E880B808953}"/>
                </a:ext>
              </a:extLst>
            </p:cNvPr>
            <p:cNvSpPr/>
            <p:nvPr/>
          </p:nvSpPr>
          <p:spPr>
            <a:xfrm>
              <a:off x="1314128" y="504299"/>
              <a:ext cx="0" cy="189877"/>
            </a:xfrm>
            <a:custGeom>
              <a:avLst/>
              <a:gdLst/>
              <a:ahLst/>
              <a:cxnLst/>
              <a:rect l="l" t="t" r="r" b="b"/>
              <a:pathLst>
                <a:path h="190000">
                  <a:moveTo>
                    <a:pt x="0" y="0"/>
                  </a:moveTo>
                  <a:lnTo>
                    <a:pt x="0" y="19000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42" name="BondLine32">
              <a:extLst>
                <a:ext uri="{FF2B5EF4-FFF2-40B4-BE49-F238E27FC236}">
                  <a16:creationId xmlns:a16="http://schemas.microsoft.com/office/drawing/2014/main" id="{85F02531-584D-47E9-B0B2-E3861A528463}"/>
                </a:ext>
              </a:extLst>
            </p:cNvPr>
            <p:cNvSpPr/>
            <p:nvPr/>
          </p:nvSpPr>
          <p:spPr>
            <a:xfrm>
              <a:off x="1149587" y="409361"/>
              <a:ext cx="164540" cy="94938"/>
            </a:xfrm>
            <a:custGeom>
              <a:avLst/>
              <a:gdLst/>
              <a:ahLst/>
              <a:cxnLst/>
              <a:rect l="l" t="t" r="r" b="b"/>
              <a:pathLst>
                <a:path w="164544" h="95000">
                  <a:moveTo>
                    <a:pt x="0" y="0"/>
                  </a:moveTo>
                  <a:lnTo>
                    <a:pt x="164544" y="9500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43" name="BondLine33">
              <a:extLst>
                <a:ext uri="{FF2B5EF4-FFF2-40B4-BE49-F238E27FC236}">
                  <a16:creationId xmlns:a16="http://schemas.microsoft.com/office/drawing/2014/main" id="{81C49EA3-0D36-492A-83E2-08E035C6A51F}"/>
                </a:ext>
              </a:extLst>
            </p:cNvPr>
            <p:cNvSpPr/>
            <p:nvPr/>
          </p:nvSpPr>
          <p:spPr>
            <a:xfrm>
              <a:off x="1149587" y="453211"/>
              <a:ext cx="126541" cy="73013"/>
            </a:xfrm>
            <a:custGeom>
              <a:avLst/>
              <a:gdLst/>
              <a:ahLst/>
              <a:cxnLst/>
              <a:rect l="l" t="t" r="r" b="b"/>
              <a:pathLst>
                <a:path w="126544" h="73060">
                  <a:moveTo>
                    <a:pt x="0" y="0"/>
                  </a:moveTo>
                  <a:lnTo>
                    <a:pt x="126544" y="7306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44" name="BondLine34">
              <a:extLst>
                <a:ext uri="{FF2B5EF4-FFF2-40B4-BE49-F238E27FC236}">
                  <a16:creationId xmlns:a16="http://schemas.microsoft.com/office/drawing/2014/main" id="{D2562C5B-7857-4768-9444-B18FD208A1AF}"/>
                </a:ext>
              </a:extLst>
            </p:cNvPr>
            <p:cNvSpPr/>
            <p:nvPr/>
          </p:nvSpPr>
          <p:spPr>
            <a:xfrm>
              <a:off x="1149587" y="694176"/>
              <a:ext cx="164540" cy="94938"/>
            </a:xfrm>
            <a:custGeom>
              <a:avLst/>
              <a:gdLst/>
              <a:ahLst/>
              <a:cxnLst/>
              <a:rect l="l" t="t" r="r" b="b"/>
              <a:pathLst>
                <a:path w="164544" h="95000">
                  <a:moveTo>
                    <a:pt x="164544" y="0"/>
                  </a:moveTo>
                  <a:lnTo>
                    <a:pt x="0" y="9500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45" name="BondLine35">
              <a:extLst>
                <a:ext uri="{FF2B5EF4-FFF2-40B4-BE49-F238E27FC236}">
                  <a16:creationId xmlns:a16="http://schemas.microsoft.com/office/drawing/2014/main" id="{0F567088-962D-42E6-BEC2-81F8335ECE91}"/>
                </a:ext>
              </a:extLst>
            </p:cNvPr>
            <p:cNvSpPr/>
            <p:nvPr/>
          </p:nvSpPr>
          <p:spPr>
            <a:xfrm>
              <a:off x="1149587" y="672251"/>
              <a:ext cx="126541" cy="73013"/>
            </a:xfrm>
            <a:custGeom>
              <a:avLst/>
              <a:gdLst/>
              <a:ahLst/>
              <a:cxnLst/>
              <a:rect l="l" t="t" r="r" b="b"/>
              <a:pathLst>
                <a:path w="126544" h="73060">
                  <a:moveTo>
                    <a:pt x="126544" y="0"/>
                  </a:moveTo>
                  <a:lnTo>
                    <a:pt x="0" y="7306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46" name="BondLine36">
              <a:extLst>
                <a:ext uri="{FF2B5EF4-FFF2-40B4-BE49-F238E27FC236}">
                  <a16:creationId xmlns:a16="http://schemas.microsoft.com/office/drawing/2014/main" id="{D3D8A3D0-F6EE-41FC-8C5C-6C064F01F936}"/>
                </a:ext>
              </a:extLst>
            </p:cNvPr>
            <p:cNvSpPr/>
            <p:nvPr/>
          </p:nvSpPr>
          <p:spPr>
            <a:xfrm>
              <a:off x="985047" y="694176"/>
              <a:ext cx="164540" cy="94938"/>
            </a:xfrm>
            <a:custGeom>
              <a:avLst/>
              <a:gdLst/>
              <a:ahLst/>
              <a:cxnLst/>
              <a:rect l="l" t="t" r="r" b="b"/>
              <a:pathLst>
                <a:path w="164544" h="95000">
                  <a:moveTo>
                    <a:pt x="164544" y="95000"/>
                  </a:moveTo>
                  <a:lnTo>
                    <a:pt x="0" y="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47" name="BondLine37">
              <a:extLst>
                <a:ext uri="{FF2B5EF4-FFF2-40B4-BE49-F238E27FC236}">
                  <a16:creationId xmlns:a16="http://schemas.microsoft.com/office/drawing/2014/main" id="{03780577-7418-41FA-BB0A-9938D99DC1FD}"/>
                </a:ext>
              </a:extLst>
            </p:cNvPr>
            <p:cNvSpPr/>
            <p:nvPr/>
          </p:nvSpPr>
          <p:spPr>
            <a:xfrm>
              <a:off x="985047" y="504299"/>
              <a:ext cx="0" cy="189877"/>
            </a:xfrm>
            <a:custGeom>
              <a:avLst/>
              <a:gdLst/>
              <a:ahLst/>
              <a:cxnLst/>
              <a:rect l="l" t="t" r="r" b="b"/>
              <a:pathLst>
                <a:path h="190000">
                  <a:moveTo>
                    <a:pt x="0" y="190000"/>
                  </a:moveTo>
                  <a:lnTo>
                    <a:pt x="0" y="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48" name="BondLine38">
              <a:extLst>
                <a:ext uri="{FF2B5EF4-FFF2-40B4-BE49-F238E27FC236}">
                  <a16:creationId xmlns:a16="http://schemas.microsoft.com/office/drawing/2014/main" id="{382E531C-6F08-476B-B61F-BF21A9739D6C}"/>
                </a:ext>
              </a:extLst>
            </p:cNvPr>
            <p:cNvSpPr/>
            <p:nvPr/>
          </p:nvSpPr>
          <p:spPr>
            <a:xfrm>
              <a:off x="1023046" y="526224"/>
              <a:ext cx="0" cy="146026"/>
            </a:xfrm>
            <a:custGeom>
              <a:avLst/>
              <a:gdLst/>
              <a:ahLst/>
              <a:cxnLst/>
              <a:rect l="l" t="t" r="r" b="b"/>
              <a:pathLst>
                <a:path h="146121">
                  <a:moveTo>
                    <a:pt x="0" y="146121"/>
                  </a:moveTo>
                  <a:lnTo>
                    <a:pt x="0" y="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49" name="BondLine39">
              <a:extLst>
                <a:ext uri="{FF2B5EF4-FFF2-40B4-BE49-F238E27FC236}">
                  <a16:creationId xmlns:a16="http://schemas.microsoft.com/office/drawing/2014/main" id="{0FAADE5A-0593-45A5-93A3-5A96E91781F6}"/>
                </a:ext>
              </a:extLst>
            </p:cNvPr>
            <p:cNvSpPr/>
            <p:nvPr/>
          </p:nvSpPr>
          <p:spPr>
            <a:xfrm>
              <a:off x="875098" y="694176"/>
              <a:ext cx="109948" cy="63439"/>
            </a:xfrm>
            <a:custGeom>
              <a:avLst/>
              <a:gdLst/>
              <a:ahLst/>
              <a:cxnLst/>
              <a:rect l="l" t="t" r="r" b="b"/>
              <a:pathLst>
                <a:path w="109951" h="63480">
                  <a:moveTo>
                    <a:pt x="109951" y="0"/>
                  </a:moveTo>
                  <a:lnTo>
                    <a:pt x="0" y="6348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50" name="BondLine40">
              <a:extLst>
                <a:ext uri="{FF2B5EF4-FFF2-40B4-BE49-F238E27FC236}">
                  <a16:creationId xmlns:a16="http://schemas.microsoft.com/office/drawing/2014/main" id="{59F220A3-1C87-4049-9D3A-25B59A4FCD6D}"/>
                </a:ext>
              </a:extLst>
            </p:cNvPr>
            <p:cNvSpPr/>
            <p:nvPr/>
          </p:nvSpPr>
          <p:spPr>
            <a:xfrm>
              <a:off x="985047" y="409361"/>
              <a:ext cx="164540" cy="94938"/>
            </a:xfrm>
            <a:custGeom>
              <a:avLst/>
              <a:gdLst/>
              <a:ahLst/>
              <a:cxnLst/>
              <a:rect l="l" t="t" r="r" b="b"/>
              <a:pathLst>
                <a:path w="164544" h="95000">
                  <a:moveTo>
                    <a:pt x="0" y="95000"/>
                  </a:moveTo>
                  <a:lnTo>
                    <a:pt x="164544" y="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51" name="BondLine41">
              <a:extLst>
                <a:ext uri="{FF2B5EF4-FFF2-40B4-BE49-F238E27FC236}">
                  <a16:creationId xmlns:a16="http://schemas.microsoft.com/office/drawing/2014/main" id="{730C4E13-DDCD-4BFD-AE74-E974AD10BDFE}"/>
                </a:ext>
              </a:extLst>
            </p:cNvPr>
            <p:cNvSpPr/>
            <p:nvPr/>
          </p:nvSpPr>
          <p:spPr>
            <a:xfrm>
              <a:off x="674965" y="705138"/>
              <a:ext cx="90949" cy="52476"/>
            </a:xfrm>
            <a:custGeom>
              <a:avLst/>
              <a:gdLst/>
              <a:ahLst/>
              <a:cxnLst/>
              <a:rect l="l" t="t" r="r" b="b"/>
              <a:pathLst>
                <a:path w="90951" h="52510">
                  <a:moveTo>
                    <a:pt x="90951" y="52510"/>
                  </a:moveTo>
                  <a:lnTo>
                    <a:pt x="0" y="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52" name="BondLine42">
              <a:extLst>
                <a:ext uri="{FF2B5EF4-FFF2-40B4-BE49-F238E27FC236}">
                  <a16:creationId xmlns:a16="http://schemas.microsoft.com/office/drawing/2014/main" id="{FE1577F3-BB4C-4DF2-BE8D-A4BF0CA88CCA}"/>
                </a:ext>
              </a:extLst>
            </p:cNvPr>
            <p:cNvSpPr/>
            <p:nvPr/>
          </p:nvSpPr>
          <p:spPr>
            <a:xfrm>
              <a:off x="546017" y="705138"/>
              <a:ext cx="90949" cy="52476"/>
            </a:xfrm>
            <a:custGeom>
              <a:avLst/>
              <a:gdLst/>
              <a:ahLst/>
              <a:cxnLst/>
              <a:rect l="l" t="t" r="r" b="b"/>
              <a:pathLst>
                <a:path w="90951" h="52510">
                  <a:moveTo>
                    <a:pt x="90951" y="0"/>
                  </a:moveTo>
                  <a:lnTo>
                    <a:pt x="0" y="5251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53" name="BondLine43">
              <a:extLst>
                <a:ext uri="{FF2B5EF4-FFF2-40B4-BE49-F238E27FC236}">
                  <a16:creationId xmlns:a16="http://schemas.microsoft.com/office/drawing/2014/main" id="{AF58B042-7E73-48CC-B50B-E1BE9182C0FD}"/>
                </a:ext>
              </a:extLst>
            </p:cNvPr>
            <p:cNvSpPr/>
            <p:nvPr/>
          </p:nvSpPr>
          <p:spPr>
            <a:xfrm>
              <a:off x="674965" y="563883"/>
              <a:ext cx="0" cy="141255"/>
            </a:xfrm>
            <a:custGeom>
              <a:avLst/>
              <a:gdLst/>
              <a:ahLst/>
              <a:cxnLst/>
              <a:rect l="l" t="t" r="r" b="b"/>
              <a:pathLst>
                <a:path h="141347">
                  <a:moveTo>
                    <a:pt x="0" y="141347"/>
                  </a:moveTo>
                  <a:lnTo>
                    <a:pt x="0" y="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54" name="BondLine44">
              <a:extLst>
                <a:ext uri="{FF2B5EF4-FFF2-40B4-BE49-F238E27FC236}">
                  <a16:creationId xmlns:a16="http://schemas.microsoft.com/office/drawing/2014/main" id="{511C5255-AD00-49D6-956E-C28D28EC5C83}"/>
                </a:ext>
              </a:extLst>
            </p:cNvPr>
            <p:cNvSpPr/>
            <p:nvPr/>
          </p:nvSpPr>
          <p:spPr>
            <a:xfrm>
              <a:off x="636966" y="563883"/>
              <a:ext cx="0" cy="141254"/>
            </a:xfrm>
            <a:custGeom>
              <a:avLst/>
              <a:gdLst/>
              <a:ahLst/>
              <a:cxnLst/>
              <a:rect l="l" t="t" r="r" b="b"/>
              <a:pathLst>
                <a:path h="141346">
                  <a:moveTo>
                    <a:pt x="0" y="141346"/>
                  </a:moveTo>
                  <a:lnTo>
                    <a:pt x="0" y="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55" name="BondLine45">
              <a:extLst>
                <a:ext uri="{FF2B5EF4-FFF2-40B4-BE49-F238E27FC236}">
                  <a16:creationId xmlns:a16="http://schemas.microsoft.com/office/drawing/2014/main" id="{F46B6ED6-C1FC-4743-AB5C-A49A592E1FB8}"/>
                </a:ext>
              </a:extLst>
            </p:cNvPr>
            <p:cNvSpPr/>
            <p:nvPr/>
          </p:nvSpPr>
          <p:spPr>
            <a:xfrm>
              <a:off x="326884" y="694176"/>
              <a:ext cx="109948" cy="63439"/>
            </a:xfrm>
            <a:custGeom>
              <a:avLst/>
              <a:gdLst/>
              <a:ahLst/>
              <a:cxnLst/>
              <a:rect l="l" t="t" r="r" b="b"/>
              <a:pathLst>
                <a:path w="109951" h="63480">
                  <a:moveTo>
                    <a:pt x="109951" y="63480"/>
                  </a:moveTo>
                  <a:lnTo>
                    <a:pt x="0" y="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56" name="BondLine46">
              <a:extLst>
                <a:ext uri="{FF2B5EF4-FFF2-40B4-BE49-F238E27FC236}">
                  <a16:creationId xmlns:a16="http://schemas.microsoft.com/office/drawing/2014/main" id="{ABBB20AA-FF24-4EA8-B36F-DF690182C926}"/>
                </a:ext>
              </a:extLst>
            </p:cNvPr>
            <p:cNvSpPr/>
            <p:nvPr/>
          </p:nvSpPr>
          <p:spPr>
            <a:xfrm>
              <a:off x="162344" y="694176"/>
              <a:ext cx="164540" cy="94938"/>
            </a:xfrm>
            <a:custGeom>
              <a:avLst/>
              <a:gdLst/>
              <a:ahLst/>
              <a:cxnLst/>
              <a:rect l="l" t="t" r="r" b="b"/>
              <a:pathLst>
                <a:path w="164544" h="95000">
                  <a:moveTo>
                    <a:pt x="164544" y="0"/>
                  </a:moveTo>
                  <a:lnTo>
                    <a:pt x="0" y="9500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57" name="BondLine47">
              <a:extLst>
                <a:ext uri="{FF2B5EF4-FFF2-40B4-BE49-F238E27FC236}">
                  <a16:creationId xmlns:a16="http://schemas.microsoft.com/office/drawing/2014/main" id="{CA44CBAA-6A38-43AC-A388-0E75AA658F94}"/>
                </a:ext>
              </a:extLst>
            </p:cNvPr>
            <p:cNvSpPr/>
            <p:nvPr/>
          </p:nvSpPr>
          <p:spPr>
            <a:xfrm>
              <a:off x="326884" y="504299"/>
              <a:ext cx="0" cy="189877"/>
            </a:xfrm>
            <a:custGeom>
              <a:avLst/>
              <a:gdLst/>
              <a:ahLst/>
              <a:cxnLst/>
              <a:rect l="l" t="t" r="r" b="b"/>
              <a:pathLst>
                <a:path h="190000">
                  <a:moveTo>
                    <a:pt x="0" y="0"/>
                  </a:moveTo>
                  <a:lnTo>
                    <a:pt x="0" y="19000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58" name="BondLine48">
              <a:extLst>
                <a:ext uri="{FF2B5EF4-FFF2-40B4-BE49-F238E27FC236}">
                  <a16:creationId xmlns:a16="http://schemas.microsoft.com/office/drawing/2014/main" id="{FF20656C-3FBF-4E62-81E7-7F17FFC034E2}"/>
                </a:ext>
              </a:extLst>
            </p:cNvPr>
            <p:cNvSpPr/>
            <p:nvPr/>
          </p:nvSpPr>
          <p:spPr>
            <a:xfrm>
              <a:off x="288885" y="526224"/>
              <a:ext cx="0" cy="146026"/>
            </a:xfrm>
            <a:custGeom>
              <a:avLst/>
              <a:gdLst/>
              <a:ahLst/>
              <a:cxnLst/>
              <a:rect l="l" t="t" r="r" b="b"/>
              <a:pathLst>
                <a:path h="146121">
                  <a:moveTo>
                    <a:pt x="0" y="0"/>
                  </a:moveTo>
                  <a:lnTo>
                    <a:pt x="0" y="146121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59" name="BondLine54">
              <a:extLst>
                <a:ext uri="{FF2B5EF4-FFF2-40B4-BE49-F238E27FC236}">
                  <a16:creationId xmlns:a16="http://schemas.microsoft.com/office/drawing/2014/main" id="{3B6564B7-B9E0-4536-ABC6-FF3407D76967}"/>
                </a:ext>
              </a:extLst>
            </p:cNvPr>
            <p:cNvSpPr/>
            <p:nvPr/>
          </p:nvSpPr>
          <p:spPr>
            <a:xfrm>
              <a:off x="162344" y="409361"/>
              <a:ext cx="164540" cy="94938"/>
            </a:xfrm>
            <a:custGeom>
              <a:avLst/>
              <a:gdLst/>
              <a:ahLst/>
              <a:cxnLst/>
              <a:rect l="l" t="t" r="r" b="b"/>
              <a:pathLst>
                <a:path w="164544" h="95000">
                  <a:moveTo>
                    <a:pt x="0" y="0"/>
                  </a:moveTo>
                  <a:lnTo>
                    <a:pt x="164544" y="9500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60" name="BondLine55">
              <a:extLst>
                <a:ext uri="{FF2B5EF4-FFF2-40B4-BE49-F238E27FC236}">
                  <a16:creationId xmlns:a16="http://schemas.microsoft.com/office/drawing/2014/main" id="{B50D0503-70EF-48A2-8B68-4B17A2EC0E8D}"/>
                </a:ext>
              </a:extLst>
            </p:cNvPr>
            <p:cNvSpPr/>
            <p:nvPr/>
          </p:nvSpPr>
          <p:spPr>
            <a:xfrm>
              <a:off x="3124074" y="409361"/>
              <a:ext cx="164540" cy="94938"/>
            </a:xfrm>
            <a:custGeom>
              <a:avLst/>
              <a:gdLst/>
              <a:ahLst/>
              <a:cxnLst/>
              <a:rect l="l" t="t" r="r" b="b"/>
              <a:pathLst>
                <a:path w="164544" h="95000">
                  <a:moveTo>
                    <a:pt x="0" y="0"/>
                  </a:moveTo>
                  <a:lnTo>
                    <a:pt x="164544" y="9500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61" name="BondLine56">
              <a:extLst>
                <a:ext uri="{FF2B5EF4-FFF2-40B4-BE49-F238E27FC236}">
                  <a16:creationId xmlns:a16="http://schemas.microsoft.com/office/drawing/2014/main" id="{A870A7DA-EE8F-4266-8AAC-097435266569}"/>
                </a:ext>
              </a:extLst>
            </p:cNvPr>
            <p:cNvSpPr/>
            <p:nvPr/>
          </p:nvSpPr>
          <p:spPr>
            <a:xfrm>
              <a:off x="3124074" y="283625"/>
              <a:ext cx="0" cy="125735"/>
            </a:xfrm>
            <a:custGeom>
              <a:avLst/>
              <a:gdLst/>
              <a:ahLst/>
              <a:cxnLst/>
              <a:rect l="l" t="t" r="r" b="b"/>
              <a:pathLst>
                <a:path h="125817">
                  <a:moveTo>
                    <a:pt x="0" y="125817"/>
                  </a:moveTo>
                  <a:lnTo>
                    <a:pt x="0" y="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62" name="BondLine57">
              <a:extLst>
                <a:ext uri="{FF2B5EF4-FFF2-40B4-BE49-F238E27FC236}">
                  <a16:creationId xmlns:a16="http://schemas.microsoft.com/office/drawing/2014/main" id="{23996C0E-8E33-493B-A6F0-F118EA1CB976}"/>
                </a:ext>
              </a:extLst>
            </p:cNvPr>
            <p:cNvSpPr/>
            <p:nvPr/>
          </p:nvSpPr>
          <p:spPr>
            <a:xfrm>
              <a:off x="3010894" y="344056"/>
              <a:ext cx="113179" cy="65304"/>
            </a:xfrm>
            <a:custGeom>
              <a:avLst/>
              <a:gdLst/>
              <a:ahLst/>
              <a:cxnLst/>
              <a:rect l="l" t="t" r="r" b="b"/>
              <a:pathLst>
                <a:path w="113182" h="65346">
                  <a:moveTo>
                    <a:pt x="113182" y="65346"/>
                  </a:moveTo>
                  <a:lnTo>
                    <a:pt x="0" y="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63" name="BondLine58">
              <a:extLst>
                <a:ext uri="{FF2B5EF4-FFF2-40B4-BE49-F238E27FC236}">
                  <a16:creationId xmlns:a16="http://schemas.microsoft.com/office/drawing/2014/main" id="{140B405F-570B-4294-8E38-A34C10213358}"/>
                </a:ext>
              </a:extLst>
            </p:cNvPr>
            <p:cNvSpPr/>
            <p:nvPr/>
          </p:nvSpPr>
          <p:spPr>
            <a:xfrm>
              <a:off x="3288615" y="409361"/>
              <a:ext cx="164540" cy="94938"/>
            </a:xfrm>
            <a:custGeom>
              <a:avLst/>
              <a:gdLst/>
              <a:ahLst/>
              <a:cxnLst/>
              <a:rect l="l" t="t" r="r" b="b"/>
              <a:pathLst>
                <a:path w="164544" h="95000">
                  <a:moveTo>
                    <a:pt x="0" y="95000"/>
                  </a:moveTo>
                  <a:lnTo>
                    <a:pt x="164544" y="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64" name="BondLine59">
              <a:extLst>
                <a:ext uri="{FF2B5EF4-FFF2-40B4-BE49-F238E27FC236}">
                  <a16:creationId xmlns:a16="http://schemas.microsoft.com/office/drawing/2014/main" id="{2FF206DF-8DD2-457A-853A-07FED9C984E2}"/>
                </a:ext>
              </a:extLst>
            </p:cNvPr>
            <p:cNvSpPr/>
            <p:nvPr/>
          </p:nvSpPr>
          <p:spPr>
            <a:xfrm>
              <a:off x="3288615" y="504299"/>
              <a:ext cx="0" cy="189877"/>
            </a:xfrm>
            <a:custGeom>
              <a:avLst/>
              <a:gdLst/>
              <a:ahLst/>
              <a:cxnLst/>
              <a:rect l="l" t="t" r="r" b="b"/>
              <a:pathLst>
                <a:path h="190000">
                  <a:moveTo>
                    <a:pt x="0" y="190000"/>
                  </a:moveTo>
                  <a:lnTo>
                    <a:pt x="0" y="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65" name="BondLine60">
              <a:extLst>
                <a:ext uri="{FF2B5EF4-FFF2-40B4-BE49-F238E27FC236}">
                  <a16:creationId xmlns:a16="http://schemas.microsoft.com/office/drawing/2014/main" id="{13A06EF1-0FD5-4870-8C06-FC49EFC953EE}"/>
                </a:ext>
              </a:extLst>
            </p:cNvPr>
            <p:cNvSpPr/>
            <p:nvPr/>
          </p:nvSpPr>
          <p:spPr>
            <a:xfrm>
              <a:off x="3326613" y="526224"/>
              <a:ext cx="0" cy="146026"/>
            </a:xfrm>
            <a:custGeom>
              <a:avLst/>
              <a:gdLst/>
              <a:ahLst/>
              <a:cxnLst/>
              <a:rect l="l" t="t" r="r" b="b"/>
              <a:pathLst>
                <a:path h="146121">
                  <a:moveTo>
                    <a:pt x="0" y="146121"/>
                  </a:moveTo>
                  <a:lnTo>
                    <a:pt x="0" y="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66" name="BondLine61">
              <a:extLst>
                <a:ext uri="{FF2B5EF4-FFF2-40B4-BE49-F238E27FC236}">
                  <a16:creationId xmlns:a16="http://schemas.microsoft.com/office/drawing/2014/main" id="{C93DC8BA-D771-48CE-9510-F6F8A1DA8341}"/>
                </a:ext>
              </a:extLst>
            </p:cNvPr>
            <p:cNvSpPr/>
            <p:nvPr/>
          </p:nvSpPr>
          <p:spPr>
            <a:xfrm>
              <a:off x="3453154" y="409361"/>
              <a:ext cx="164540" cy="94938"/>
            </a:xfrm>
            <a:custGeom>
              <a:avLst/>
              <a:gdLst/>
              <a:ahLst/>
              <a:cxnLst/>
              <a:rect l="l" t="t" r="r" b="b"/>
              <a:pathLst>
                <a:path w="164544" h="95000">
                  <a:moveTo>
                    <a:pt x="0" y="0"/>
                  </a:moveTo>
                  <a:lnTo>
                    <a:pt x="164544" y="9500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67" name="BondLine62">
              <a:extLst>
                <a:ext uri="{FF2B5EF4-FFF2-40B4-BE49-F238E27FC236}">
                  <a16:creationId xmlns:a16="http://schemas.microsoft.com/office/drawing/2014/main" id="{271AA04A-5281-47B0-A62F-B878F6F4D67A}"/>
                </a:ext>
              </a:extLst>
            </p:cNvPr>
            <p:cNvSpPr/>
            <p:nvPr/>
          </p:nvSpPr>
          <p:spPr>
            <a:xfrm>
              <a:off x="3453154" y="453211"/>
              <a:ext cx="126541" cy="73013"/>
            </a:xfrm>
            <a:custGeom>
              <a:avLst/>
              <a:gdLst/>
              <a:ahLst/>
              <a:cxnLst/>
              <a:rect l="l" t="t" r="r" b="b"/>
              <a:pathLst>
                <a:path w="126544" h="73060">
                  <a:moveTo>
                    <a:pt x="0" y="0"/>
                  </a:moveTo>
                  <a:lnTo>
                    <a:pt x="126544" y="7306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68" name="BondLine63">
              <a:extLst>
                <a:ext uri="{FF2B5EF4-FFF2-40B4-BE49-F238E27FC236}">
                  <a16:creationId xmlns:a16="http://schemas.microsoft.com/office/drawing/2014/main" id="{95F67E2F-944C-4D37-9160-76C1F90B77E6}"/>
                </a:ext>
              </a:extLst>
            </p:cNvPr>
            <p:cNvSpPr/>
            <p:nvPr/>
          </p:nvSpPr>
          <p:spPr>
            <a:xfrm>
              <a:off x="3617695" y="504299"/>
              <a:ext cx="0" cy="189877"/>
            </a:xfrm>
            <a:custGeom>
              <a:avLst/>
              <a:gdLst/>
              <a:ahLst/>
              <a:cxnLst/>
              <a:rect l="l" t="t" r="r" b="b"/>
              <a:pathLst>
                <a:path h="190000">
                  <a:moveTo>
                    <a:pt x="0" y="0"/>
                  </a:moveTo>
                  <a:lnTo>
                    <a:pt x="0" y="19000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69" name="BondLine64">
              <a:extLst>
                <a:ext uri="{FF2B5EF4-FFF2-40B4-BE49-F238E27FC236}">
                  <a16:creationId xmlns:a16="http://schemas.microsoft.com/office/drawing/2014/main" id="{533EE79F-849F-4F38-8C6A-EE4B789C7FAF}"/>
                </a:ext>
              </a:extLst>
            </p:cNvPr>
            <p:cNvSpPr/>
            <p:nvPr/>
          </p:nvSpPr>
          <p:spPr>
            <a:xfrm>
              <a:off x="3453154" y="694176"/>
              <a:ext cx="164540" cy="94938"/>
            </a:xfrm>
            <a:custGeom>
              <a:avLst/>
              <a:gdLst/>
              <a:ahLst/>
              <a:cxnLst/>
              <a:rect l="l" t="t" r="r" b="b"/>
              <a:pathLst>
                <a:path w="164544" h="95000">
                  <a:moveTo>
                    <a:pt x="164544" y="0"/>
                  </a:moveTo>
                  <a:lnTo>
                    <a:pt x="0" y="9500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70" name="BondLine65">
              <a:extLst>
                <a:ext uri="{FF2B5EF4-FFF2-40B4-BE49-F238E27FC236}">
                  <a16:creationId xmlns:a16="http://schemas.microsoft.com/office/drawing/2014/main" id="{59DB424B-4F64-4CF3-9C16-C58461EB0331}"/>
                </a:ext>
              </a:extLst>
            </p:cNvPr>
            <p:cNvSpPr/>
            <p:nvPr/>
          </p:nvSpPr>
          <p:spPr>
            <a:xfrm>
              <a:off x="3453154" y="672251"/>
              <a:ext cx="126541" cy="73013"/>
            </a:xfrm>
            <a:custGeom>
              <a:avLst/>
              <a:gdLst/>
              <a:ahLst/>
              <a:cxnLst/>
              <a:rect l="l" t="t" r="r" b="b"/>
              <a:pathLst>
                <a:path w="126544" h="73060">
                  <a:moveTo>
                    <a:pt x="126544" y="0"/>
                  </a:moveTo>
                  <a:lnTo>
                    <a:pt x="0" y="7306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71" name="BondLine66">
              <a:extLst>
                <a:ext uri="{FF2B5EF4-FFF2-40B4-BE49-F238E27FC236}">
                  <a16:creationId xmlns:a16="http://schemas.microsoft.com/office/drawing/2014/main" id="{1C7BC842-A8A3-472A-89C9-442147A12636}"/>
                </a:ext>
              </a:extLst>
            </p:cNvPr>
            <p:cNvSpPr/>
            <p:nvPr/>
          </p:nvSpPr>
          <p:spPr>
            <a:xfrm>
              <a:off x="3617695" y="694176"/>
              <a:ext cx="109948" cy="63439"/>
            </a:xfrm>
            <a:custGeom>
              <a:avLst/>
              <a:gdLst/>
              <a:ahLst/>
              <a:cxnLst/>
              <a:rect l="l" t="t" r="r" b="b"/>
              <a:pathLst>
                <a:path w="109951" h="63480">
                  <a:moveTo>
                    <a:pt x="0" y="0"/>
                  </a:moveTo>
                  <a:lnTo>
                    <a:pt x="109951" y="6348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72" name="BondLine67">
              <a:extLst>
                <a:ext uri="{FF2B5EF4-FFF2-40B4-BE49-F238E27FC236}">
                  <a16:creationId xmlns:a16="http://schemas.microsoft.com/office/drawing/2014/main" id="{C3FDFA8F-DDCE-4C53-ACD5-BE8BEE92C799}"/>
                </a:ext>
              </a:extLst>
            </p:cNvPr>
            <p:cNvSpPr/>
            <p:nvPr/>
          </p:nvSpPr>
          <p:spPr>
            <a:xfrm>
              <a:off x="3288615" y="694176"/>
              <a:ext cx="164540" cy="94938"/>
            </a:xfrm>
            <a:custGeom>
              <a:avLst/>
              <a:gdLst/>
              <a:ahLst/>
              <a:cxnLst/>
              <a:rect l="l" t="t" r="r" b="b"/>
              <a:pathLst>
                <a:path w="164544" h="95000">
                  <a:moveTo>
                    <a:pt x="164544" y="95000"/>
                  </a:moveTo>
                  <a:lnTo>
                    <a:pt x="0" y="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73" name="BondLine68">
              <a:extLst>
                <a:ext uri="{FF2B5EF4-FFF2-40B4-BE49-F238E27FC236}">
                  <a16:creationId xmlns:a16="http://schemas.microsoft.com/office/drawing/2014/main" id="{076A3F64-C5A5-4539-9CD7-E6AA6A5F3B31}"/>
                </a:ext>
              </a:extLst>
            </p:cNvPr>
            <p:cNvSpPr/>
            <p:nvPr/>
          </p:nvSpPr>
          <p:spPr>
            <a:xfrm>
              <a:off x="3836828" y="705138"/>
              <a:ext cx="90950" cy="52477"/>
            </a:xfrm>
            <a:custGeom>
              <a:avLst/>
              <a:gdLst/>
              <a:ahLst/>
              <a:cxnLst/>
              <a:rect l="l" t="t" r="r" b="b"/>
              <a:pathLst>
                <a:path w="90952" h="52511">
                  <a:moveTo>
                    <a:pt x="0" y="52511"/>
                  </a:moveTo>
                  <a:lnTo>
                    <a:pt x="90952" y="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74" name="BondLine69">
              <a:extLst>
                <a:ext uri="{FF2B5EF4-FFF2-40B4-BE49-F238E27FC236}">
                  <a16:creationId xmlns:a16="http://schemas.microsoft.com/office/drawing/2014/main" id="{EB7E5497-AB50-444A-B404-F91266E464FA}"/>
                </a:ext>
              </a:extLst>
            </p:cNvPr>
            <p:cNvSpPr/>
            <p:nvPr/>
          </p:nvSpPr>
          <p:spPr>
            <a:xfrm>
              <a:off x="3965776" y="705138"/>
              <a:ext cx="90949" cy="52477"/>
            </a:xfrm>
            <a:custGeom>
              <a:avLst/>
              <a:gdLst/>
              <a:ahLst/>
              <a:cxnLst/>
              <a:rect l="l" t="t" r="r" b="b"/>
              <a:pathLst>
                <a:path w="90951" h="52511">
                  <a:moveTo>
                    <a:pt x="0" y="0"/>
                  </a:moveTo>
                  <a:lnTo>
                    <a:pt x="90951" y="52511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75" name="BondLine70">
              <a:extLst>
                <a:ext uri="{FF2B5EF4-FFF2-40B4-BE49-F238E27FC236}">
                  <a16:creationId xmlns:a16="http://schemas.microsoft.com/office/drawing/2014/main" id="{A854FE03-5078-42CF-B11B-AC6CDAB2C778}"/>
                </a:ext>
              </a:extLst>
            </p:cNvPr>
            <p:cNvSpPr/>
            <p:nvPr/>
          </p:nvSpPr>
          <p:spPr>
            <a:xfrm>
              <a:off x="3965776" y="563883"/>
              <a:ext cx="0" cy="141254"/>
            </a:xfrm>
            <a:custGeom>
              <a:avLst/>
              <a:gdLst/>
              <a:ahLst/>
              <a:cxnLst/>
              <a:rect l="l" t="t" r="r" b="b"/>
              <a:pathLst>
                <a:path h="141346">
                  <a:moveTo>
                    <a:pt x="0" y="141346"/>
                  </a:moveTo>
                  <a:lnTo>
                    <a:pt x="0" y="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76" name="BondLine71">
              <a:extLst>
                <a:ext uri="{FF2B5EF4-FFF2-40B4-BE49-F238E27FC236}">
                  <a16:creationId xmlns:a16="http://schemas.microsoft.com/office/drawing/2014/main" id="{FEE49FE7-6FCE-471E-8EC1-73AEE816F154}"/>
                </a:ext>
              </a:extLst>
            </p:cNvPr>
            <p:cNvSpPr/>
            <p:nvPr/>
          </p:nvSpPr>
          <p:spPr>
            <a:xfrm>
              <a:off x="3927777" y="563883"/>
              <a:ext cx="0" cy="141254"/>
            </a:xfrm>
            <a:custGeom>
              <a:avLst/>
              <a:gdLst/>
              <a:ahLst/>
              <a:cxnLst/>
              <a:rect l="l" t="t" r="r" b="b"/>
              <a:pathLst>
                <a:path h="141346">
                  <a:moveTo>
                    <a:pt x="0" y="141346"/>
                  </a:moveTo>
                  <a:lnTo>
                    <a:pt x="0" y="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77" name="BondLine72">
              <a:extLst>
                <a:ext uri="{FF2B5EF4-FFF2-40B4-BE49-F238E27FC236}">
                  <a16:creationId xmlns:a16="http://schemas.microsoft.com/office/drawing/2014/main" id="{A7C1C439-64E7-4557-BC27-D220E4618246}"/>
                </a:ext>
              </a:extLst>
            </p:cNvPr>
            <p:cNvSpPr/>
            <p:nvPr/>
          </p:nvSpPr>
          <p:spPr>
            <a:xfrm>
              <a:off x="4165909" y="694176"/>
              <a:ext cx="109948" cy="63439"/>
            </a:xfrm>
            <a:custGeom>
              <a:avLst/>
              <a:gdLst/>
              <a:ahLst/>
              <a:cxnLst/>
              <a:rect l="l" t="t" r="r" b="b"/>
              <a:pathLst>
                <a:path w="109951" h="63480">
                  <a:moveTo>
                    <a:pt x="0" y="63480"/>
                  </a:moveTo>
                  <a:lnTo>
                    <a:pt x="109951" y="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78" name="BondLine73">
              <a:extLst>
                <a:ext uri="{FF2B5EF4-FFF2-40B4-BE49-F238E27FC236}">
                  <a16:creationId xmlns:a16="http://schemas.microsoft.com/office/drawing/2014/main" id="{6F36F9C6-B194-4A73-8A11-957B3110B5A0}"/>
                </a:ext>
              </a:extLst>
            </p:cNvPr>
            <p:cNvSpPr/>
            <p:nvPr/>
          </p:nvSpPr>
          <p:spPr>
            <a:xfrm>
              <a:off x="4275858" y="504299"/>
              <a:ext cx="0" cy="189877"/>
            </a:xfrm>
            <a:custGeom>
              <a:avLst/>
              <a:gdLst/>
              <a:ahLst/>
              <a:cxnLst/>
              <a:rect l="l" t="t" r="r" b="b"/>
              <a:pathLst>
                <a:path h="190000">
                  <a:moveTo>
                    <a:pt x="0" y="190000"/>
                  </a:moveTo>
                  <a:lnTo>
                    <a:pt x="0" y="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79" name="BondLine74">
              <a:extLst>
                <a:ext uri="{FF2B5EF4-FFF2-40B4-BE49-F238E27FC236}">
                  <a16:creationId xmlns:a16="http://schemas.microsoft.com/office/drawing/2014/main" id="{E82EE1D2-53F6-4822-B840-52815241F71E}"/>
                </a:ext>
              </a:extLst>
            </p:cNvPr>
            <p:cNvSpPr/>
            <p:nvPr/>
          </p:nvSpPr>
          <p:spPr>
            <a:xfrm>
              <a:off x="4275858" y="694176"/>
              <a:ext cx="164540" cy="94938"/>
            </a:xfrm>
            <a:custGeom>
              <a:avLst/>
              <a:gdLst/>
              <a:ahLst/>
              <a:cxnLst/>
              <a:rect l="l" t="t" r="r" b="b"/>
              <a:pathLst>
                <a:path w="164544" h="95000">
                  <a:moveTo>
                    <a:pt x="164544" y="95000"/>
                  </a:moveTo>
                  <a:lnTo>
                    <a:pt x="0" y="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80" name="BondLine75">
              <a:extLst>
                <a:ext uri="{FF2B5EF4-FFF2-40B4-BE49-F238E27FC236}">
                  <a16:creationId xmlns:a16="http://schemas.microsoft.com/office/drawing/2014/main" id="{23FE5D8D-C483-4836-8D59-D7A1905CB570}"/>
                </a:ext>
              </a:extLst>
            </p:cNvPr>
            <p:cNvSpPr/>
            <p:nvPr/>
          </p:nvSpPr>
          <p:spPr>
            <a:xfrm>
              <a:off x="4313857" y="672251"/>
              <a:ext cx="126541" cy="73013"/>
            </a:xfrm>
            <a:custGeom>
              <a:avLst/>
              <a:gdLst/>
              <a:ahLst/>
              <a:cxnLst/>
              <a:rect l="l" t="t" r="r" b="b"/>
              <a:pathLst>
                <a:path w="126544" h="73060">
                  <a:moveTo>
                    <a:pt x="126544" y="73060"/>
                  </a:moveTo>
                  <a:lnTo>
                    <a:pt x="0" y="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81" name="BondLine76">
              <a:extLst>
                <a:ext uri="{FF2B5EF4-FFF2-40B4-BE49-F238E27FC236}">
                  <a16:creationId xmlns:a16="http://schemas.microsoft.com/office/drawing/2014/main" id="{9A255B54-EC64-4DB1-B15E-8B87AC0B54FE}"/>
                </a:ext>
              </a:extLst>
            </p:cNvPr>
            <p:cNvSpPr/>
            <p:nvPr/>
          </p:nvSpPr>
          <p:spPr>
            <a:xfrm>
              <a:off x="4275858" y="409361"/>
              <a:ext cx="164540" cy="94938"/>
            </a:xfrm>
            <a:custGeom>
              <a:avLst/>
              <a:gdLst/>
              <a:ahLst/>
              <a:cxnLst/>
              <a:rect l="l" t="t" r="r" b="b"/>
              <a:pathLst>
                <a:path w="164544" h="95000">
                  <a:moveTo>
                    <a:pt x="0" y="95000"/>
                  </a:moveTo>
                  <a:lnTo>
                    <a:pt x="164544" y="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82" name="BondLine77">
              <a:extLst>
                <a:ext uri="{FF2B5EF4-FFF2-40B4-BE49-F238E27FC236}">
                  <a16:creationId xmlns:a16="http://schemas.microsoft.com/office/drawing/2014/main" id="{1A624785-95FA-4425-9271-71C452216F36}"/>
                </a:ext>
              </a:extLst>
            </p:cNvPr>
            <p:cNvSpPr/>
            <p:nvPr/>
          </p:nvSpPr>
          <p:spPr>
            <a:xfrm>
              <a:off x="4313857" y="453211"/>
              <a:ext cx="126541" cy="73013"/>
            </a:xfrm>
            <a:custGeom>
              <a:avLst/>
              <a:gdLst/>
              <a:ahLst/>
              <a:cxnLst/>
              <a:rect l="l" t="t" r="r" b="b"/>
              <a:pathLst>
                <a:path w="126544" h="73060">
                  <a:moveTo>
                    <a:pt x="0" y="73060"/>
                  </a:moveTo>
                  <a:lnTo>
                    <a:pt x="126544" y="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83" name="BondLine78">
              <a:extLst>
                <a:ext uri="{FF2B5EF4-FFF2-40B4-BE49-F238E27FC236}">
                  <a16:creationId xmlns:a16="http://schemas.microsoft.com/office/drawing/2014/main" id="{05E0DEC5-AE27-4256-AA40-3F4724EC750E}"/>
                </a:ext>
              </a:extLst>
            </p:cNvPr>
            <p:cNvSpPr/>
            <p:nvPr/>
          </p:nvSpPr>
          <p:spPr>
            <a:xfrm>
              <a:off x="4440399" y="409361"/>
              <a:ext cx="164540" cy="94938"/>
            </a:xfrm>
            <a:custGeom>
              <a:avLst/>
              <a:gdLst/>
              <a:ahLst/>
              <a:cxnLst/>
              <a:rect l="l" t="t" r="r" b="b"/>
              <a:pathLst>
                <a:path w="164544" h="95000">
                  <a:moveTo>
                    <a:pt x="0" y="0"/>
                  </a:moveTo>
                  <a:lnTo>
                    <a:pt x="164544" y="9500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84" name="BondLine79">
              <a:extLst>
                <a:ext uri="{FF2B5EF4-FFF2-40B4-BE49-F238E27FC236}">
                  <a16:creationId xmlns:a16="http://schemas.microsoft.com/office/drawing/2014/main" id="{9B54F612-F8E2-4D20-B659-F0F71FBF4129}"/>
                </a:ext>
              </a:extLst>
            </p:cNvPr>
            <p:cNvSpPr/>
            <p:nvPr/>
          </p:nvSpPr>
          <p:spPr>
            <a:xfrm>
              <a:off x="4604939" y="504299"/>
              <a:ext cx="0" cy="189877"/>
            </a:xfrm>
            <a:custGeom>
              <a:avLst/>
              <a:gdLst/>
              <a:ahLst/>
              <a:cxnLst/>
              <a:rect l="l" t="t" r="r" b="b"/>
              <a:pathLst>
                <a:path h="190000">
                  <a:moveTo>
                    <a:pt x="0" y="0"/>
                  </a:moveTo>
                  <a:lnTo>
                    <a:pt x="0" y="19000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85" name="BondLine80">
              <a:extLst>
                <a:ext uri="{FF2B5EF4-FFF2-40B4-BE49-F238E27FC236}">
                  <a16:creationId xmlns:a16="http://schemas.microsoft.com/office/drawing/2014/main" id="{F8CA022B-F482-435C-B1E5-9F35775469B1}"/>
                </a:ext>
              </a:extLst>
            </p:cNvPr>
            <p:cNvSpPr/>
            <p:nvPr/>
          </p:nvSpPr>
          <p:spPr>
            <a:xfrm>
              <a:off x="4566941" y="526224"/>
              <a:ext cx="0" cy="146026"/>
            </a:xfrm>
            <a:custGeom>
              <a:avLst/>
              <a:gdLst/>
              <a:ahLst/>
              <a:cxnLst/>
              <a:rect l="l" t="t" r="r" b="b"/>
              <a:pathLst>
                <a:path h="146121">
                  <a:moveTo>
                    <a:pt x="0" y="0"/>
                  </a:moveTo>
                  <a:lnTo>
                    <a:pt x="0" y="146121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86" name="BondLine81">
              <a:extLst>
                <a:ext uri="{FF2B5EF4-FFF2-40B4-BE49-F238E27FC236}">
                  <a16:creationId xmlns:a16="http://schemas.microsoft.com/office/drawing/2014/main" id="{86749A0F-0F25-4B9F-A9EC-5EC4B834E25B}"/>
                </a:ext>
              </a:extLst>
            </p:cNvPr>
            <p:cNvSpPr/>
            <p:nvPr/>
          </p:nvSpPr>
          <p:spPr>
            <a:xfrm>
              <a:off x="4604939" y="409361"/>
              <a:ext cx="164540" cy="94938"/>
            </a:xfrm>
            <a:custGeom>
              <a:avLst/>
              <a:gdLst/>
              <a:ahLst/>
              <a:cxnLst/>
              <a:rect l="l" t="t" r="r" b="b"/>
              <a:pathLst>
                <a:path w="164544" h="95000">
                  <a:moveTo>
                    <a:pt x="0" y="95000"/>
                  </a:moveTo>
                  <a:lnTo>
                    <a:pt x="164544" y="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87" name="BondLine82">
              <a:extLst>
                <a:ext uri="{FF2B5EF4-FFF2-40B4-BE49-F238E27FC236}">
                  <a16:creationId xmlns:a16="http://schemas.microsoft.com/office/drawing/2014/main" id="{FDCFD0BD-B15A-403E-9BAC-1326AD300FBD}"/>
                </a:ext>
              </a:extLst>
            </p:cNvPr>
            <p:cNvSpPr/>
            <p:nvPr/>
          </p:nvSpPr>
          <p:spPr>
            <a:xfrm>
              <a:off x="4440399" y="694176"/>
              <a:ext cx="164540" cy="94938"/>
            </a:xfrm>
            <a:custGeom>
              <a:avLst/>
              <a:gdLst/>
              <a:ahLst/>
              <a:cxnLst/>
              <a:rect l="l" t="t" r="r" b="b"/>
              <a:pathLst>
                <a:path w="164544" h="95000">
                  <a:moveTo>
                    <a:pt x="164544" y="0"/>
                  </a:moveTo>
                  <a:lnTo>
                    <a:pt x="0" y="9500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88" name="BondLine83">
              <a:extLst>
                <a:ext uri="{FF2B5EF4-FFF2-40B4-BE49-F238E27FC236}">
                  <a16:creationId xmlns:a16="http://schemas.microsoft.com/office/drawing/2014/main" id="{C14D6557-BBBF-446C-B0E1-97A0C17B7A10}"/>
                </a:ext>
              </a:extLst>
            </p:cNvPr>
            <p:cNvSpPr/>
            <p:nvPr/>
          </p:nvSpPr>
          <p:spPr>
            <a:xfrm>
              <a:off x="4769480" y="283625"/>
              <a:ext cx="0" cy="125735"/>
            </a:xfrm>
            <a:custGeom>
              <a:avLst/>
              <a:gdLst/>
              <a:ahLst/>
              <a:cxnLst/>
              <a:rect l="l" t="t" r="r" b="b"/>
              <a:pathLst>
                <a:path h="125817">
                  <a:moveTo>
                    <a:pt x="0" y="125817"/>
                  </a:moveTo>
                  <a:lnTo>
                    <a:pt x="0" y="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89" name="BondLine84">
              <a:extLst>
                <a:ext uri="{FF2B5EF4-FFF2-40B4-BE49-F238E27FC236}">
                  <a16:creationId xmlns:a16="http://schemas.microsoft.com/office/drawing/2014/main" id="{25AAF1BD-816F-4AC0-92D3-841360315395}"/>
                </a:ext>
              </a:extLst>
            </p:cNvPr>
            <p:cNvSpPr/>
            <p:nvPr/>
          </p:nvSpPr>
          <p:spPr>
            <a:xfrm>
              <a:off x="4656300" y="344056"/>
              <a:ext cx="113179" cy="65304"/>
            </a:xfrm>
            <a:custGeom>
              <a:avLst/>
              <a:gdLst/>
              <a:ahLst/>
              <a:cxnLst/>
              <a:rect l="l" t="t" r="r" b="b"/>
              <a:pathLst>
                <a:path w="113182" h="65346">
                  <a:moveTo>
                    <a:pt x="113182" y="65346"/>
                  </a:moveTo>
                  <a:lnTo>
                    <a:pt x="0" y="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91" name="AtomLabel2">
              <a:extLst>
                <a:ext uri="{FF2B5EF4-FFF2-40B4-BE49-F238E27FC236}">
                  <a16:creationId xmlns:a16="http://schemas.microsoft.com/office/drawing/2014/main" id="{69D5903D-6D37-4AD1-9091-DA28D70A9B10}"/>
                </a:ext>
              </a:extLst>
            </p:cNvPr>
            <p:cNvSpPr/>
            <p:nvPr/>
          </p:nvSpPr>
          <p:spPr>
            <a:xfrm>
              <a:off x="2423194" y="744450"/>
              <a:ext cx="85434" cy="92381"/>
            </a:xfrm>
            <a:custGeom>
              <a:avLst/>
              <a:gdLst/>
              <a:ahLst/>
              <a:cxnLst/>
              <a:rect l="l" t="t" r="r" b="b"/>
              <a:pathLst>
                <a:path w="85436" h="92441">
                  <a:moveTo>
                    <a:pt x="0" y="47407"/>
                  </a:moveTo>
                  <a:quadBezTo>
                    <a:pt x="0" y="25171"/>
                    <a:pt x="11940" y="12590"/>
                  </a:quadBezTo>
                  <a:quadBezTo>
                    <a:pt x="23881" y="0"/>
                    <a:pt x="42777" y="0"/>
                  </a:quadBezTo>
                  <a:quadBezTo>
                    <a:pt x="55141" y="0"/>
                    <a:pt x="65072" y="5911"/>
                  </a:quadBezTo>
                  <a:quadBezTo>
                    <a:pt x="75013" y="11822"/>
                    <a:pt x="80214" y="22403"/>
                  </a:quadBezTo>
                  <a:quadBezTo>
                    <a:pt x="85426" y="32974"/>
                    <a:pt x="85426" y="46373"/>
                  </a:quadBezTo>
                  <a:quadBezTo>
                    <a:pt x="85426" y="59959"/>
                    <a:pt x="79939" y="70688"/>
                  </a:quadBezTo>
                  <a:quadBezTo>
                    <a:pt x="74461" y="81416"/>
                    <a:pt x="64402" y="86934"/>
                  </a:quadBezTo>
                  <a:quadBezTo>
                    <a:pt x="54353" y="92441"/>
                    <a:pt x="42718" y="92441"/>
                  </a:quadBezTo>
                  <a:quadBezTo>
                    <a:pt x="30097" y="92441"/>
                    <a:pt x="20167" y="86352"/>
                  </a:quadBezTo>
                  <a:quadBezTo>
                    <a:pt x="10236" y="80254"/>
                    <a:pt x="5113" y="69712"/>
                  </a:quadBezTo>
                  <a:quadBezTo>
                    <a:pt x="0" y="59171"/>
                    <a:pt x="0" y="47407"/>
                  </a:quadBezTo>
                  <a:close/>
                  <a:moveTo>
                    <a:pt x="12186" y="47595"/>
                  </a:moveTo>
                  <a:quadBezTo>
                    <a:pt x="12186" y="63742"/>
                    <a:pt x="20866" y="73032"/>
                  </a:quadBezTo>
                  <a:quadBezTo>
                    <a:pt x="29556" y="82323"/>
                    <a:pt x="42649" y="82323"/>
                  </a:quadBezTo>
                  <a:quadBezTo>
                    <a:pt x="55998" y="82323"/>
                    <a:pt x="64619" y="72944"/>
                  </a:quadBezTo>
                  <a:quadBezTo>
                    <a:pt x="73239" y="63555"/>
                    <a:pt x="73239" y="46314"/>
                  </a:quadBezTo>
                  <a:quadBezTo>
                    <a:pt x="73239" y="35408"/>
                    <a:pt x="69555" y="27270"/>
                  </a:quadBezTo>
                  <a:quadBezTo>
                    <a:pt x="65870" y="19132"/>
                    <a:pt x="58767" y="14659"/>
                  </a:quadBezTo>
                  <a:quadBezTo>
                    <a:pt x="51673" y="10177"/>
                    <a:pt x="42836" y="10177"/>
                  </a:quadBezTo>
                  <a:quadBezTo>
                    <a:pt x="30285" y="10177"/>
                    <a:pt x="21231" y="18807"/>
                  </a:quadBezTo>
                  <a:quadBezTo>
                    <a:pt x="12186" y="27427"/>
                    <a:pt x="12186" y="47595"/>
                  </a:quad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92" name="AtomLabel3">
              <a:extLst>
                <a:ext uri="{FF2B5EF4-FFF2-40B4-BE49-F238E27FC236}">
                  <a16:creationId xmlns:a16="http://schemas.microsoft.com/office/drawing/2014/main" id="{DD286D2C-ECC1-4CCB-B669-BA298A14FB04}"/>
                </a:ext>
              </a:extLst>
            </p:cNvPr>
            <p:cNvSpPr/>
            <p:nvPr/>
          </p:nvSpPr>
          <p:spPr>
            <a:xfrm>
              <a:off x="2094114" y="744450"/>
              <a:ext cx="85434" cy="92381"/>
            </a:xfrm>
            <a:custGeom>
              <a:avLst/>
              <a:gdLst/>
              <a:ahLst/>
              <a:cxnLst/>
              <a:rect l="l" t="t" r="r" b="b"/>
              <a:pathLst>
                <a:path w="85436" h="92441">
                  <a:moveTo>
                    <a:pt x="0" y="47407"/>
                  </a:moveTo>
                  <a:quadBezTo>
                    <a:pt x="0" y="25171"/>
                    <a:pt x="11940" y="12590"/>
                  </a:quadBezTo>
                  <a:quadBezTo>
                    <a:pt x="23881" y="0"/>
                    <a:pt x="42777" y="0"/>
                  </a:quadBezTo>
                  <a:quadBezTo>
                    <a:pt x="55141" y="0"/>
                    <a:pt x="65072" y="5911"/>
                  </a:quadBezTo>
                  <a:quadBezTo>
                    <a:pt x="75013" y="11822"/>
                    <a:pt x="80214" y="22403"/>
                  </a:quadBezTo>
                  <a:quadBezTo>
                    <a:pt x="85426" y="32974"/>
                    <a:pt x="85426" y="46373"/>
                  </a:quadBezTo>
                  <a:quadBezTo>
                    <a:pt x="85426" y="59959"/>
                    <a:pt x="79939" y="70688"/>
                  </a:quadBezTo>
                  <a:quadBezTo>
                    <a:pt x="74461" y="81416"/>
                    <a:pt x="64402" y="86934"/>
                  </a:quadBezTo>
                  <a:quadBezTo>
                    <a:pt x="54353" y="92441"/>
                    <a:pt x="42718" y="92441"/>
                  </a:quadBezTo>
                  <a:quadBezTo>
                    <a:pt x="30097" y="92441"/>
                    <a:pt x="20167" y="86352"/>
                  </a:quadBezTo>
                  <a:quadBezTo>
                    <a:pt x="10236" y="80254"/>
                    <a:pt x="5113" y="69712"/>
                  </a:quadBezTo>
                  <a:quadBezTo>
                    <a:pt x="0" y="59171"/>
                    <a:pt x="0" y="47407"/>
                  </a:quadBezTo>
                  <a:close/>
                  <a:moveTo>
                    <a:pt x="12186" y="47595"/>
                  </a:moveTo>
                  <a:quadBezTo>
                    <a:pt x="12186" y="63742"/>
                    <a:pt x="20866" y="73032"/>
                  </a:quadBezTo>
                  <a:quadBezTo>
                    <a:pt x="29556" y="82323"/>
                    <a:pt x="42649" y="82323"/>
                  </a:quadBezTo>
                  <a:quadBezTo>
                    <a:pt x="55998" y="82323"/>
                    <a:pt x="64619" y="72944"/>
                  </a:quadBezTo>
                  <a:quadBezTo>
                    <a:pt x="73239" y="63555"/>
                    <a:pt x="73239" y="46314"/>
                  </a:quadBezTo>
                  <a:quadBezTo>
                    <a:pt x="73239" y="35408"/>
                    <a:pt x="69555" y="27270"/>
                  </a:quadBezTo>
                  <a:quadBezTo>
                    <a:pt x="65870" y="19132"/>
                    <a:pt x="58767" y="14659"/>
                  </a:quadBezTo>
                  <a:quadBezTo>
                    <a:pt x="51673" y="10177"/>
                    <a:pt x="42836" y="10177"/>
                  </a:quadBezTo>
                  <a:quadBezTo>
                    <a:pt x="30285" y="10177"/>
                    <a:pt x="21231" y="18807"/>
                  </a:quadBezTo>
                  <a:quadBezTo>
                    <a:pt x="12186" y="27427"/>
                    <a:pt x="12186" y="47595"/>
                  </a:quad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93" name="AtomLabel4">
              <a:extLst>
                <a:ext uri="{FF2B5EF4-FFF2-40B4-BE49-F238E27FC236}">
                  <a16:creationId xmlns:a16="http://schemas.microsoft.com/office/drawing/2014/main" id="{8C5E97AC-689E-4030-AD30-40A2D5AF9881}"/>
                </a:ext>
              </a:extLst>
            </p:cNvPr>
            <p:cNvSpPr/>
            <p:nvPr/>
          </p:nvSpPr>
          <p:spPr>
            <a:xfrm>
              <a:off x="777789" y="744450"/>
              <a:ext cx="85434" cy="92381"/>
            </a:xfrm>
            <a:custGeom>
              <a:avLst/>
              <a:gdLst/>
              <a:ahLst/>
              <a:cxnLst/>
              <a:rect l="l" t="t" r="r" b="b"/>
              <a:pathLst>
                <a:path w="85436" h="92441">
                  <a:moveTo>
                    <a:pt x="0" y="47407"/>
                  </a:moveTo>
                  <a:quadBezTo>
                    <a:pt x="0" y="25171"/>
                    <a:pt x="11940" y="12590"/>
                  </a:quadBezTo>
                  <a:quadBezTo>
                    <a:pt x="23881" y="0"/>
                    <a:pt x="42777" y="0"/>
                  </a:quadBezTo>
                  <a:quadBezTo>
                    <a:pt x="55141" y="0"/>
                    <a:pt x="65072" y="5911"/>
                  </a:quadBezTo>
                  <a:quadBezTo>
                    <a:pt x="75013" y="11822"/>
                    <a:pt x="80214" y="22403"/>
                  </a:quadBezTo>
                  <a:quadBezTo>
                    <a:pt x="85426" y="32974"/>
                    <a:pt x="85426" y="46373"/>
                  </a:quadBezTo>
                  <a:quadBezTo>
                    <a:pt x="85426" y="59959"/>
                    <a:pt x="79939" y="70688"/>
                  </a:quadBezTo>
                  <a:quadBezTo>
                    <a:pt x="74461" y="81416"/>
                    <a:pt x="64402" y="86934"/>
                  </a:quadBezTo>
                  <a:quadBezTo>
                    <a:pt x="54353" y="92441"/>
                    <a:pt x="42718" y="92441"/>
                  </a:quadBezTo>
                  <a:quadBezTo>
                    <a:pt x="30097" y="92441"/>
                    <a:pt x="20167" y="86352"/>
                  </a:quadBezTo>
                  <a:quadBezTo>
                    <a:pt x="10236" y="80254"/>
                    <a:pt x="5113" y="69712"/>
                  </a:quadBezTo>
                  <a:quadBezTo>
                    <a:pt x="0" y="59171"/>
                    <a:pt x="0" y="47407"/>
                  </a:quadBezTo>
                  <a:close/>
                  <a:moveTo>
                    <a:pt x="12186" y="47595"/>
                  </a:moveTo>
                  <a:quadBezTo>
                    <a:pt x="12186" y="63742"/>
                    <a:pt x="20866" y="73032"/>
                  </a:quadBezTo>
                  <a:quadBezTo>
                    <a:pt x="29556" y="82323"/>
                    <a:pt x="42649" y="82323"/>
                  </a:quadBezTo>
                  <a:quadBezTo>
                    <a:pt x="55998" y="82323"/>
                    <a:pt x="64619" y="72944"/>
                  </a:quadBezTo>
                  <a:quadBezTo>
                    <a:pt x="73239" y="63555"/>
                    <a:pt x="73239" y="46314"/>
                  </a:quadBezTo>
                  <a:quadBezTo>
                    <a:pt x="73239" y="35408"/>
                    <a:pt x="69555" y="27270"/>
                  </a:quadBezTo>
                  <a:quadBezTo>
                    <a:pt x="65870" y="19132"/>
                    <a:pt x="58767" y="14659"/>
                  </a:quadBezTo>
                  <a:quadBezTo>
                    <a:pt x="51673" y="10177"/>
                    <a:pt x="42836" y="10177"/>
                  </a:quadBezTo>
                  <a:quadBezTo>
                    <a:pt x="30285" y="10177"/>
                    <a:pt x="21231" y="18807"/>
                  </a:quadBezTo>
                  <a:quadBezTo>
                    <a:pt x="12186" y="27427"/>
                    <a:pt x="12186" y="47595"/>
                  </a:quad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94" name="AtomLabel5">
              <a:extLst>
                <a:ext uri="{FF2B5EF4-FFF2-40B4-BE49-F238E27FC236}">
                  <a16:creationId xmlns:a16="http://schemas.microsoft.com/office/drawing/2014/main" id="{1179BD83-5178-4DE3-BC6F-F7C8943BE114}"/>
                </a:ext>
              </a:extLst>
            </p:cNvPr>
            <p:cNvSpPr/>
            <p:nvPr/>
          </p:nvSpPr>
          <p:spPr>
            <a:xfrm>
              <a:off x="448707" y="744450"/>
              <a:ext cx="85434" cy="92381"/>
            </a:xfrm>
            <a:custGeom>
              <a:avLst/>
              <a:gdLst/>
              <a:ahLst/>
              <a:cxnLst/>
              <a:rect l="l" t="t" r="r" b="b"/>
              <a:pathLst>
                <a:path w="85436" h="92441">
                  <a:moveTo>
                    <a:pt x="0" y="47407"/>
                  </a:moveTo>
                  <a:quadBezTo>
                    <a:pt x="0" y="25171"/>
                    <a:pt x="11940" y="12590"/>
                  </a:quadBezTo>
                  <a:quadBezTo>
                    <a:pt x="23881" y="0"/>
                    <a:pt x="42777" y="0"/>
                  </a:quadBezTo>
                  <a:quadBezTo>
                    <a:pt x="55141" y="0"/>
                    <a:pt x="65072" y="5911"/>
                  </a:quadBezTo>
                  <a:quadBezTo>
                    <a:pt x="75013" y="11822"/>
                    <a:pt x="80214" y="22403"/>
                  </a:quadBezTo>
                  <a:quadBezTo>
                    <a:pt x="85426" y="32974"/>
                    <a:pt x="85426" y="46373"/>
                  </a:quadBezTo>
                  <a:quadBezTo>
                    <a:pt x="85426" y="59959"/>
                    <a:pt x="79939" y="70688"/>
                  </a:quadBezTo>
                  <a:quadBezTo>
                    <a:pt x="74461" y="81416"/>
                    <a:pt x="64402" y="86934"/>
                  </a:quadBezTo>
                  <a:quadBezTo>
                    <a:pt x="54353" y="92441"/>
                    <a:pt x="42718" y="92441"/>
                  </a:quadBezTo>
                  <a:quadBezTo>
                    <a:pt x="30097" y="92441"/>
                    <a:pt x="20167" y="86352"/>
                  </a:quadBezTo>
                  <a:quadBezTo>
                    <a:pt x="10236" y="80254"/>
                    <a:pt x="5113" y="69712"/>
                  </a:quadBezTo>
                  <a:quadBezTo>
                    <a:pt x="0" y="59171"/>
                    <a:pt x="0" y="47407"/>
                  </a:quadBezTo>
                  <a:close/>
                  <a:moveTo>
                    <a:pt x="12186" y="47595"/>
                  </a:moveTo>
                  <a:quadBezTo>
                    <a:pt x="12186" y="63742"/>
                    <a:pt x="20866" y="73032"/>
                  </a:quadBezTo>
                  <a:quadBezTo>
                    <a:pt x="29556" y="82323"/>
                    <a:pt x="42649" y="82323"/>
                  </a:quadBezTo>
                  <a:quadBezTo>
                    <a:pt x="55998" y="82323"/>
                    <a:pt x="64619" y="72944"/>
                  </a:quadBezTo>
                  <a:quadBezTo>
                    <a:pt x="73239" y="63555"/>
                    <a:pt x="73239" y="46314"/>
                  </a:quadBezTo>
                  <a:quadBezTo>
                    <a:pt x="73239" y="35408"/>
                    <a:pt x="69555" y="27270"/>
                  </a:quadBezTo>
                  <a:quadBezTo>
                    <a:pt x="65870" y="19132"/>
                    <a:pt x="58767" y="14659"/>
                  </a:quadBezTo>
                  <a:quadBezTo>
                    <a:pt x="51673" y="10177"/>
                    <a:pt x="42836" y="10177"/>
                  </a:quadBezTo>
                  <a:quadBezTo>
                    <a:pt x="30285" y="10177"/>
                    <a:pt x="21231" y="18807"/>
                  </a:quadBezTo>
                  <a:quadBezTo>
                    <a:pt x="12186" y="27427"/>
                    <a:pt x="12186" y="47595"/>
                  </a:quad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95" name="AtomLabel6">
              <a:extLst>
                <a:ext uri="{FF2B5EF4-FFF2-40B4-BE49-F238E27FC236}">
                  <a16:creationId xmlns:a16="http://schemas.microsoft.com/office/drawing/2014/main" id="{1BD730BD-A114-4E7F-AC38-5DC7D6FE05C8}"/>
                </a:ext>
              </a:extLst>
            </p:cNvPr>
            <p:cNvSpPr/>
            <p:nvPr/>
          </p:nvSpPr>
          <p:spPr>
            <a:xfrm>
              <a:off x="613248" y="459634"/>
              <a:ext cx="85434" cy="92381"/>
            </a:xfrm>
            <a:custGeom>
              <a:avLst/>
              <a:gdLst/>
              <a:ahLst/>
              <a:cxnLst/>
              <a:rect l="l" t="t" r="r" b="b"/>
              <a:pathLst>
                <a:path w="85436" h="92441">
                  <a:moveTo>
                    <a:pt x="0" y="47407"/>
                  </a:moveTo>
                  <a:quadBezTo>
                    <a:pt x="0" y="25171"/>
                    <a:pt x="11940" y="12590"/>
                  </a:quadBezTo>
                  <a:quadBezTo>
                    <a:pt x="23881" y="0"/>
                    <a:pt x="42777" y="0"/>
                  </a:quadBezTo>
                  <a:quadBezTo>
                    <a:pt x="55141" y="0"/>
                    <a:pt x="65072" y="5911"/>
                  </a:quadBezTo>
                  <a:quadBezTo>
                    <a:pt x="75013" y="11822"/>
                    <a:pt x="80214" y="22403"/>
                  </a:quadBezTo>
                  <a:quadBezTo>
                    <a:pt x="85426" y="32974"/>
                    <a:pt x="85426" y="46373"/>
                  </a:quadBezTo>
                  <a:quadBezTo>
                    <a:pt x="85426" y="59959"/>
                    <a:pt x="79939" y="70688"/>
                  </a:quadBezTo>
                  <a:quadBezTo>
                    <a:pt x="74461" y="81416"/>
                    <a:pt x="64402" y="86934"/>
                  </a:quadBezTo>
                  <a:quadBezTo>
                    <a:pt x="54353" y="92441"/>
                    <a:pt x="42718" y="92441"/>
                  </a:quadBezTo>
                  <a:quadBezTo>
                    <a:pt x="30097" y="92441"/>
                    <a:pt x="20167" y="86352"/>
                  </a:quadBezTo>
                  <a:quadBezTo>
                    <a:pt x="10236" y="80254"/>
                    <a:pt x="5113" y="69712"/>
                  </a:quadBezTo>
                  <a:quadBezTo>
                    <a:pt x="0" y="59171"/>
                    <a:pt x="0" y="47407"/>
                  </a:quadBezTo>
                  <a:close/>
                  <a:moveTo>
                    <a:pt x="12186" y="47595"/>
                  </a:moveTo>
                  <a:quadBezTo>
                    <a:pt x="12186" y="63742"/>
                    <a:pt x="20866" y="73032"/>
                  </a:quadBezTo>
                  <a:quadBezTo>
                    <a:pt x="29556" y="82323"/>
                    <a:pt x="42649" y="82323"/>
                  </a:quadBezTo>
                  <a:quadBezTo>
                    <a:pt x="55998" y="82323"/>
                    <a:pt x="64619" y="72944"/>
                  </a:quadBezTo>
                  <a:quadBezTo>
                    <a:pt x="73239" y="63555"/>
                    <a:pt x="73239" y="46314"/>
                  </a:quadBezTo>
                  <a:quadBezTo>
                    <a:pt x="73239" y="35408"/>
                    <a:pt x="69555" y="27270"/>
                  </a:quadBezTo>
                  <a:quadBezTo>
                    <a:pt x="65870" y="19132"/>
                    <a:pt x="58767" y="14659"/>
                  </a:quadBezTo>
                  <a:quadBezTo>
                    <a:pt x="51673" y="10177"/>
                    <a:pt x="42836" y="10177"/>
                  </a:quadBezTo>
                  <a:quadBezTo>
                    <a:pt x="30285" y="10177"/>
                    <a:pt x="21231" y="18807"/>
                  </a:quadBezTo>
                  <a:quadBezTo>
                    <a:pt x="12186" y="27427"/>
                    <a:pt x="12186" y="47595"/>
                  </a:quad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96" name="AtomLabel7">
              <a:extLst>
                <a:ext uri="{FF2B5EF4-FFF2-40B4-BE49-F238E27FC236}">
                  <a16:creationId xmlns:a16="http://schemas.microsoft.com/office/drawing/2014/main" id="{06C048BE-76FD-4C3B-B6A5-CF54E4FC8099}"/>
                </a:ext>
              </a:extLst>
            </p:cNvPr>
            <p:cNvSpPr/>
            <p:nvPr/>
          </p:nvSpPr>
          <p:spPr>
            <a:xfrm>
              <a:off x="1439182" y="174849"/>
              <a:ext cx="78971" cy="92322"/>
            </a:xfrm>
            <a:custGeom>
              <a:avLst/>
              <a:gdLst/>
              <a:ahLst/>
              <a:cxnLst/>
              <a:rect l="l" t="t" r="r" b="b"/>
              <a:pathLst>
                <a:path w="78973" h="92382">
                  <a:moveTo>
                    <a:pt x="67141" y="59535"/>
                  </a:moveTo>
                  <a:lnTo>
                    <a:pt x="78963" y="62520"/>
                  </a:lnTo>
                  <a:quadBezTo>
                    <a:pt x="75249" y="77091"/>
                    <a:pt x="65584" y="84737"/>
                  </a:quadBezTo>
                  <a:quadBezTo>
                    <a:pt x="55929" y="92382"/>
                    <a:pt x="41979" y="92382"/>
                  </a:quadBezTo>
                  <a:quadBezTo>
                    <a:pt x="27536" y="92382"/>
                    <a:pt x="18482" y="86500"/>
                  </a:quadBezTo>
                  <a:quadBezTo>
                    <a:pt x="9438" y="80618"/>
                    <a:pt x="4709" y="69476"/>
                  </a:quadBezTo>
                  <a:quadBezTo>
                    <a:pt x="-9" y="58323"/>
                    <a:pt x="-9" y="45526"/>
                  </a:quadBezTo>
                  <a:quadBezTo>
                    <a:pt x="-9" y="31565"/>
                    <a:pt x="5320" y="21181"/>
                  </a:quadBezTo>
                  <a:quadBezTo>
                    <a:pt x="10659" y="10787"/>
                    <a:pt x="20502" y="5398"/>
                  </a:quadBezTo>
                  <a:quadBezTo>
                    <a:pt x="30344" y="9"/>
                    <a:pt x="42156" y="9"/>
                  </a:quadBezTo>
                  <a:quadBezTo>
                    <a:pt x="55565" y="9"/>
                    <a:pt x="64707" y="6837"/>
                  </a:quadBezTo>
                  <a:quadBezTo>
                    <a:pt x="73850" y="13654"/>
                    <a:pt x="77446" y="26028"/>
                  </a:quadBezTo>
                  <a:lnTo>
                    <a:pt x="65801" y="28767"/>
                  </a:lnTo>
                  <a:quadBezTo>
                    <a:pt x="62698" y="19014"/>
                    <a:pt x="56786" y="14571"/>
                  </a:quadBezTo>
                  <a:quadBezTo>
                    <a:pt x="50875" y="10118"/>
                    <a:pt x="41920" y="10118"/>
                  </a:quadBezTo>
                  <a:quadBezTo>
                    <a:pt x="31615" y="10118"/>
                    <a:pt x="24698" y="15053"/>
                  </a:quadBezTo>
                  <a:quadBezTo>
                    <a:pt x="17782" y="19989"/>
                    <a:pt x="14975" y="28314"/>
                  </a:quadBezTo>
                  <a:quadBezTo>
                    <a:pt x="12177" y="36629"/>
                    <a:pt x="12177" y="45466"/>
                  </a:quadBezTo>
                  <a:quadBezTo>
                    <a:pt x="12177" y="56855"/>
                    <a:pt x="15497" y="65358"/>
                  </a:quadBezTo>
                  <a:quadBezTo>
                    <a:pt x="18827" y="73860"/>
                    <a:pt x="25831" y="78067"/>
                  </a:quadBezTo>
                  <a:quadBezTo>
                    <a:pt x="32836" y="82264"/>
                    <a:pt x="41004" y="82264"/>
                  </a:quadBezTo>
                  <a:quadBezTo>
                    <a:pt x="50934" y="82264"/>
                    <a:pt x="57821" y="76540"/>
                  </a:quadBezTo>
                  <a:quadBezTo>
                    <a:pt x="64707" y="70816"/>
                    <a:pt x="67141" y="59535"/>
                  </a:quad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97" name="AtomLabel8">
              <a:extLst>
                <a:ext uri="{FF2B5EF4-FFF2-40B4-BE49-F238E27FC236}">
                  <a16:creationId xmlns:a16="http://schemas.microsoft.com/office/drawing/2014/main" id="{00239AE3-22CF-466C-B8C9-8642357E5B1C}"/>
                </a:ext>
              </a:extLst>
            </p:cNvPr>
            <p:cNvSpPr/>
            <p:nvPr/>
          </p:nvSpPr>
          <p:spPr>
            <a:xfrm>
              <a:off x="1529307" y="176375"/>
              <a:ext cx="70075" cy="89270"/>
            </a:xfrm>
            <a:custGeom>
              <a:avLst/>
              <a:gdLst/>
              <a:ahLst/>
              <a:cxnLst/>
              <a:rect l="l" t="t" r="r" b="b"/>
              <a:pathLst>
                <a:path w="70077" h="89328">
                  <a:moveTo>
                    <a:pt x="0" y="89328"/>
                  </a:moveTo>
                  <a:lnTo>
                    <a:pt x="0" y="0"/>
                  </a:lnTo>
                  <a:lnTo>
                    <a:pt x="11822" y="0"/>
                  </a:lnTo>
                  <a:lnTo>
                    <a:pt x="11822" y="36688"/>
                  </a:lnTo>
                  <a:lnTo>
                    <a:pt x="58254" y="36688"/>
                  </a:lnTo>
                  <a:lnTo>
                    <a:pt x="58254" y="0"/>
                  </a:lnTo>
                  <a:lnTo>
                    <a:pt x="70077" y="0"/>
                  </a:lnTo>
                  <a:lnTo>
                    <a:pt x="70077" y="89328"/>
                  </a:lnTo>
                  <a:lnTo>
                    <a:pt x="58254" y="89328"/>
                  </a:lnTo>
                  <a:lnTo>
                    <a:pt x="58254" y="47230"/>
                  </a:lnTo>
                  <a:lnTo>
                    <a:pt x="11822" y="47230"/>
                  </a:lnTo>
                  <a:lnTo>
                    <a:pt x="11822" y="8932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98" name="AtomLabel9">
              <a:extLst>
                <a:ext uri="{FF2B5EF4-FFF2-40B4-BE49-F238E27FC236}">
                  <a16:creationId xmlns:a16="http://schemas.microsoft.com/office/drawing/2014/main" id="{1B2B8875-C8EA-4844-9A36-70ADDA724385}"/>
                </a:ext>
              </a:extLst>
            </p:cNvPr>
            <p:cNvSpPr/>
            <p:nvPr/>
          </p:nvSpPr>
          <p:spPr>
            <a:xfrm>
              <a:off x="1619430" y="228534"/>
              <a:ext cx="35099" cy="54731"/>
            </a:xfrm>
            <a:custGeom>
              <a:avLst/>
              <a:gdLst/>
              <a:ahLst/>
              <a:cxnLst/>
              <a:rect l="l" t="t" r="r" b="b"/>
              <a:pathLst>
                <a:path w="35100" h="54767">
                  <a:moveTo>
                    <a:pt x="-5" y="39670"/>
                  </a:moveTo>
                  <a:lnTo>
                    <a:pt x="6579" y="38789"/>
                  </a:lnTo>
                  <a:quadBezTo>
                    <a:pt x="7708" y="44387"/>
                    <a:pt x="10433" y="46858"/>
                  </a:quadBezTo>
                  <a:quadBezTo>
                    <a:pt x="13158" y="49323"/>
                    <a:pt x="17071" y="49323"/>
                  </a:quadBezTo>
                  <a:quadBezTo>
                    <a:pt x="21711" y="49323"/>
                    <a:pt x="24909" y="46107"/>
                  </a:quadBezTo>
                  <a:quadBezTo>
                    <a:pt x="28113" y="42885"/>
                    <a:pt x="28113" y="38133"/>
                  </a:quadBezTo>
                  <a:quadBezTo>
                    <a:pt x="28113" y="33599"/>
                    <a:pt x="25152" y="30655"/>
                  </a:quadBezTo>
                  <a:quadBezTo>
                    <a:pt x="22190" y="27711"/>
                    <a:pt x="17621" y="27711"/>
                  </a:quadBezTo>
                  <a:quadBezTo>
                    <a:pt x="15753" y="27711"/>
                    <a:pt x="12975" y="28444"/>
                  </a:quadBezTo>
                  <a:lnTo>
                    <a:pt x="13708" y="22669"/>
                  </a:lnTo>
                  <a:quadBezTo>
                    <a:pt x="14364" y="22740"/>
                    <a:pt x="14766" y="22740"/>
                  </a:quadBezTo>
                  <a:quadBezTo>
                    <a:pt x="18969" y="22740"/>
                    <a:pt x="22332" y="20547"/>
                  </a:quadBezTo>
                  <a:quadBezTo>
                    <a:pt x="25701" y="18354"/>
                    <a:pt x="25701" y="13784"/>
                  </a:quadBezTo>
                  <a:quadBezTo>
                    <a:pt x="25701" y="10167"/>
                    <a:pt x="23248" y="7790"/>
                  </a:quadBezTo>
                  <a:quadBezTo>
                    <a:pt x="20801" y="5408"/>
                    <a:pt x="16923" y="5408"/>
                  </a:quadBezTo>
                  <a:quadBezTo>
                    <a:pt x="13087" y="5408"/>
                    <a:pt x="10527" y="7826"/>
                  </a:quadBezTo>
                  <a:quadBezTo>
                    <a:pt x="7968" y="10238"/>
                    <a:pt x="7235" y="15061"/>
                  </a:quadBezTo>
                  <a:lnTo>
                    <a:pt x="656" y="13891"/>
                  </a:lnTo>
                  <a:quadBezTo>
                    <a:pt x="1862" y="7276"/>
                    <a:pt x="6135" y="3641"/>
                  </a:quadBezTo>
                  <a:quadBezTo>
                    <a:pt x="10415" y="0"/>
                    <a:pt x="16775" y="0"/>
                  </a:quadBezTo>
                  <a:quadBezTo>
                    <a:pt x="21168" y="0"/>
                    <a:pt x="24856" y="1885"/>
                  </a:quadBezTo>
                  <a:quadBezTo>
                    <a:pt x="28551" y="3765"/>
                    <a:pt x="30507" y="7022"/>
                  </a:quadBezTo>
                  <a:quadBezTo>
                    <a:pt x="32464" y="10273"/>
                    <a:pt x="32464" y="13932"/>
                  </a:quadBezTo>
                  <a:quadBezTo>
                    <a:pt x="32464" y="17402"/>
                    <a:pt x="30596" y="20257"/>
                  </a:quadBezTo>
                  <a:quadBezTo>
                    <a:pt x="28734" y="23106"/>
                    <a:pt x="25075" y="24791"/>
                  </a:quadBezTo>
                  <a:quadBezTo>
                    <a:pt x="29827" y="25885"/>
                    <a:pt x="32458" y="29343"/>
                  </a:quadBezTo>
                  <a:quadBezTo>
                    <a:pt x="35094" y="32795"/>
                    <a:pt x="35094" y="37985"/>
                  </a:quadBezTo>
                  <a:quadBezTo>
                    <a:pt x="35094" y="45007"/>
                    <a:pt x="29975" y="49890"/>
                  </a:quadBezTo>
                  <a:quadBezTo>
                    <a:pt x="24856" y="54767"/>
                    <a:pt x="17036" y="54767"/>
                  </a:quadBezTo>
                  <a:quadBezTo>
                    <a:pt x="9978" y="54767"/>
                    <a:pt x="5314" y="50564"/>
                  </a:quadBezTo>
                  <a:quadBezTo>
                    <a:pt x="656" y="46361"/>
                    <a:pt x="-5" y="39670"/>
                  </a:quad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99" name="AtomLabel10">
              <a:extLst>
                <a:ext uri="{FF2B5EF4-FFF2-40B4-BE49-F238E27FC236}">
                  <a16:creationId xmlns:a16="http://schemas.microsoft.com/office/drawing/2014/main" id="{F56568FA-AE55-4B43-837D-88C5654A06AB}"/>
                </a:ext>
              </a:extLst>
            </p:cNvPr>
            <p:cNvSpPr/>
            <p:nvPr/>
          </p:nvSpPr>
          <p:spPr>
            <a:xfrm>
              <a:off x="1274642" y="269788"/>
              <a:ext cx="78971" cy="92322"/>
            </a:xfrm>
            <a:custGeom>
              <a:avLst/>
              <a:gdLst/>
              <a:ahLst/>
              <a:cxnLst/>
              <a:rect l="l" t="t" r="r" b="b"/>
              <a:pathLst>
                <a:path w="78973" h="92382">
                  <a:moveTo>
                    <a:pt x="67141" y="59535"/>
                  </a:moveTo>
                  <a:lnTo>
                    <a:pt x="78963" y="62520"/>
                  </a:lnTo>
                  <a:quadBezTo>
                    <a:pt x="75249" y="77091"/>
                    <a:pt x="65584" y="84737"/>
                  </a:quadBezTo>
                  <a:quadBezTo>
                    <a:pt x="55929" y="92382"/>
                    <a:pt x="41979" y="92382"/>
                  </a:quadBezTo>
                  <a:quadBezTo>
                    <a:pt x="27536" y="92382"/>
                    <a:pt x="18482" y="86500"/>
                  </a:quadBezTo>
                  <a:quadBezTo>
                    <a:pt x="9438" y="80618"/>
                    <a:pt x="4709" y="69476"/>
                  </a:quadBezTo>
                  <a:quadBezTo>
                    <a:pt x="-9" y="58323"/>
                    <a:pt x="-9" y="45526"/>
                  </a:quadBezTo>
                  <a:quadBezTo>
                    <a:pt x="-9" y="31565"/>
                    <a:pt x="5320" y="21181"/>
                  </a:quadBezTo>
                  <a:quadBezTo>
                    <a:pt x="10659" y="10787"/>
                    <a:pt x="20502" y="5398"/>
                  </a:quadBezTo>
                  <a:quadBezTo>
                    <a:pt x="30344" y="9"/>
                    <a:pt x="42156" y="9"/>
                  </a:quadBezTo>
                  <a:quadBezTo>
                    <a:pt x="55565" y="9"/>
                    <a:pt x="64707" y="6837"/>
                  </a:quadBezTo>
                  <a:quadBezTo>
                    <a:pt x="73850" y="13654"/>
                    <a:pt x="77446" y="26028"/>
                  </a:quadBezTo>
                  <a:lnTo>
                    <a:pt x="65801" y="28767"/>
                  </a:lnTo>
                  <a:quadBezTo>
                    <a:pt x="62698" y="19014"/>
                    <a:pt x="56786" y="14571"/>
                  </a:quadBezTo>
                  <a:quadBezTo>
                    <a:pt x="50875" y="10118"/>
                    <a:pt x="41920" y="10118"/>
                  </a:quadBezTo>
                  <a:quadBezTo>
                    <a:pt x="31615" y="10118"/>
                    <a:pt x="24698" y="15053"/>
                  </a:quadBezTo>
                  <a:quadBezTo>
                    <a:pt x="17782" y="19989"/>
                    <a:pt x="14975" y="28314"/>
                  </a:quadBezTo>
                  <a:quadBezTo>
                    <a:pt x="12177" y="36629"/>
                    <a:pt x="12177" y="45466"/>
                  </a:quadBezTo>
                  <a:quadBezTo>
                    <a:pt x="12177" y="56855"/>
                    <a:pt x="15497" y="65358"/>
                  </a:quadBezTo>
                  <a:quadBezTo>
                    <a:pt x="18827" y="73860"/>
                    <a:pt x="25831" y="78067"/>
                  </a:quadBezTo>
                  <a:quadBezTo>
                    <a:pt x="32836" y="82264"/>
                    <a:pt x="41004" y="82264"/>
                  </a:quadBezTo>
                  <a:quadBezTo>
                    <a:pt x="50934" y="82264"/>
                    <a:pt x="57821" y="76540"/>
                  </a:quadBezTo>
                  <a:quadBezTo>
                    <a:pt x="64707" y="70816"/>
                    <a:pt x="67141" y="59535"/>
                  </a:quad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100" name="AtomLabel11">
              <a:extLst>
                <a:ext uri="{FF2B5EF4-FFF2-40B4-BE49-F238E27FC236}">
                  <a16:creationId xmlns:a16="http://schemas.microsoft.com/office/drawing/2014/main" id="{91DC266C-91D4-4AA0-A537-CC03C32B2C0B}"/>
                </a:ext>
              </a:extLst>
            </p:cNvPr>
            <p:cNvSpPr/>
            <p:nvPr/>
          </p:nvSpPr>
          <p:spPr>
            <a:xfrm>
              <a:off x="1139457" y="271314"/>
              <a:ext cx="70075" cy="89270"/>
            </a:xfrm>
            <a:custGeom>
              <a:avLst/>
              <a:gdLst/>
              <a:ahLst/>
              <a:cxnLst/>
              <a:rect l="l" t="t" r="r" b="b"/>
              <a:pathLst>
                <a:path w="70077" h="89328">
                  <a:moveTo>
                    <a:pt x="0" y="89328"/>
                  </a:moveTo>
                  <a:lnTo>
                    <a:pt x="0" y="0"/>
                  </a:lnTo>
                  <a:lnTo>
                    <a:pt x="11822" y="0"/>
                  </a:lnTo>
                  <a:lnTo>
                    <a:pt x="11822" y="36688"/>
                  </a:lnTo>
                  <a:lnTo>
                    <a:pt x="58254" y="36688"/>
                  </a:lnTo>
                  <a:lnTo>
                    <a:pt x="58254" y="0"/>
                  </a:lnTo>
                  <a:lnTo>
                    <a:pt x="70077" y="0"/>
                  </a:lnTo>
                  <a:lnTo>
                    <a:pt x="70077" y="89328"/>
                  </a:lnTo>
                  <a:lnTo>
                    <a:pt x="58254" y="89328"/>
                  </a:lnTo>
                  <a:lnTo>
                    <a:pt x="58254" y="47230"/>
                  </a:lnTo>
                  <a:lnTo>
                    <a:pt x="11822" y="47230"/>
                  </a:lnTo>
                  <a:lnTo>
                    <a:pt x="11822" y="8932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101" name="AtomLabel12">
              <a:extLst>
                <a:ext uri="{FF2B5EF4-FFF2-40B4-BE49-F238E27FC236}">
                  <a16:creationId xmlns:a16="http://schemas.microsoft.com/office/drawing/2014/main" id="{A6D070FB-2B39-49E6-ABA4-F455D49BD5F3}"/>
                </a:ext>
              </a:extLst>
            </p:cNvPr>
            <p:cNvSpPr/>
            <p:nvPr/>
          </p:nvSpPr>
          <p:spPr>
            <a:xfrm>
              <a:off x="1229580" y="323473"/>
              <a:ext cx="35099" cy="54731"/>
            </a:xfrm>
            <a:custGeom>
              <a:avLst/>
              <a:gdLst/>
              <a:ahLst/>
              <a:cxnLst/>
              <a:rect l="l" t="t" r="r" b="b"/>
              <a:pathLst>
                <a:path w="35100" h="54767">
                  <a:moveTo>
                    <a:pt x="-5" y="39670"/>
                  </a:moveTo>
                  <a:lnTo>
                    <a:pt x="6579" y="38789"/>
                  </a:lnTo>
                  <a:quadBezTo>
                    <a:pt x="7708" y="44387"/>
                    <a:pt x="10433" y="46858"/>
                  </a:quadBezTo>
                  <a:quadBezTo>
                    <a:pt x="13158" y="49323"/>
                    <a:pt x="17071" y="49323"/>
                  </a:quadBezTo>
                  <a:quadBezTo>
                    <a:pt x="21711" y="49323"/>
                    <a:pt x="24909" y="46107"/>
                  </a:quadBezTo>
                  <a:quadBezTo>
                    <a:pt x="28113" y="42885"/>
                    <a:pt x="28113" y="38133"/>
                  </a:quadBezTo>
                  <a:quadBezTo>
                    <a:pt x="28113" y="33599"/>
                    <a:pt x="25152" y="30655"/>
                  </a:quadBezTo>
                  <a:quadBezTo>
                    <a:pt x="22190" y="27711"/>
                    <a:pt x="17621" y="27711"/>
                  </a:quadBezTo>
                  <a:quadBezTo>
                    <a:pt x="15753" y="27711"/>
                    <a:pt x="12975" y="28444"/>
                  </a:quadBezTo>
                  <a:lnTo>
                    <a:pt x="13708" y="22669"/>
                  </a:lnTo>
                  <a:quadBezTo>
                    <a:pt x="14364" y="22740"/>
                    <a:pt x="14766" y="22740"/>
                  </a:quadBezTo>
                  <a:quadBezTo>
                    <a:pt x="18969" y="22740"/>
                    <a:pt x="22332" y="20547"/>
                  </a:quadBezTo>
                  <a:quadBezTo>
                    <a:pt x="25701" y="18354"/>
                    <a:pt x="25701" y="13784"/>
                  </a:quadBezTo>
                  <a:quadBezTo>
                    <a:pt x="25701" y="10167"/>
                    <a:pt x="23248" y="7790"/>
                  </a:quadBezTo>
                  <a:quadBezTo>
                    <a:pt x="20801" y="5408"/>
                    <a:pt x="16923" y="5408"/>
                  </a:quadBezTo>
                  <a:quadBezTo>
                    <a:pt x="13087" y="5408"/>
                    <a:pt x="10527" y="7826"/>
                  </a:quadBezTo>
                  <a:quadBezTo>
                    <a:pt x="7968" y="10238"/>
                    <a:pt x="7235" y="15061"/>
                  </a:quadBezTo>
                  <a:lnTo>
                    <a:pt x="656" y="13891"/>
                  </a:lnTo>
                  <a:quadBezTo>
                    <a:pt x="1862" y="7276"/>
                    <a:pt x="6135" y="3641"/>
                  </a:quadBezTo>
                  <a:quadBezTo>
                    <a:pt x="10415" y="0"/>
                    <a:pt x="16775" y="0"/>
                  </a:quadBezTo>
                  <a:quadBezTo>
                    <a:pt x="21168" y="0"/>
                    <a:pt x="24856" y="1885"/>
                  </a:quadBezTo>
                  <a:quadBezTo>
                    <a:pt x="28551" y="3765"/>
                    <a:pt x="30507" y="7022"/>
                  </a:quadBezTo>
                  <a:quadBezTo>
                    <a:pt x="32464" y="10273"/>
                    <a:pt x="32464" y="13932"/>
                  </a:quadBezTo>
                  <a:quadBezTo>
                    <a:pt x="32464" y="17402"/>
                    <a:pt x="30596" y="20257"/>
                  </a:quadBezTo>
                  <a:quadBezTo>
                    <a:pt x="28734" y="23106"/>
                    <a:pt x="25075" y="24791"/>
                  </a:quadBezTo>
                  <a:quadBezTo>
                    <a:pt x="29827" y="25885"/>
                    <a:pt x="32458" y="29343"/>
                  </a:quadBezTo>
                  <a:quadBezTo>
                    <a:pt x="35094" y="32795"/>
                    <a:pt x="35094" y="37985"/>
                  </a:quadBezTo>
                  <a:quadBezTo>
                    <a:pt x="35094" y="45007"/>
                    <a:pt x="29975" y="49890"/>
                  </a:quadBezTo>
                  <a:quadBezTo>
                    <a:pt x="24856" y="54767"/>
                    <a:pt x="17036" y="54767"/>
                  </a:quadBezTo>
                  <a:quadBezTo>
                    <a:pt x="9978" y="54767"/>
                    <a:pt x="5314" y="50564"/>
                  </a:quadBezTo>
                  <a:quadBezTo>
                    <a:pt x="656" y="46361"/>
                    <a:pt x="-5" y="39670"/>
                  </a:quad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102" name="AtomLabel13">
              <a:extLst>
                <a:ext uri="{FF2B5EF4-FFF2-40B4-BE49-F238E27FC236}">
                  <a16:creationId xmlns:a16="http://schemas.microsoft.com/office/drawing/2014/main" id="{FC2334E7-7270-48E3-8DE3-90297236C97B}"/>
                </a:ext>
              </a:extLst>
            </p:cNvPr>
            <p:cNvSpPr/>
            <p:nvPr/>
          </p:nvSpPr>
          <p:spPr>
            <a:xfrm>
              <a:off x="2258654" y="459634"/>
              <a:ext cx="85434" cy="92381"/>
            </a:xfrm>
            <a:custGeom>
              <a:avLst/>
              <a:gdLst/>
              <a:ahLst/>
              <a:cxnLst/>
              <a:rect l="l" t="t" r="r" b="b"/>
              <a:pathLst>
                <a:path w="85436" h="92441">
                  <a:moveTo>
                    <a:pt x="0" y="47407"/>
                  </a:moveTo>
                  <a:quadBezTo>
                    <a:pt x="0" y="25171"/>
                    <a:pt x="11940" y="12590"/>
                  </a:quadBezTo>
                  <a:quadBezTo>
                    <a:pt x="23881" y="0"/>
                    <a:pt x="42777" y="0"/>
                  </a:quadBezTo>
                  <a:quadBezTo>
                    <a:pt x="55141" y="0"/>
                    <a:pt x="65072" y="5911"/>
                  </a:quadBezTo>
                  <a:quadBezTo>
                    <a:pt x="75013" y="11822"/>
                    <a:pt x="80214" y="22403"/>
                  </a:quadBezTo>
                  <a:quadBezTo>
                    <a:pt x="85426" y="32974"/>
                    <a:pt x="85426" y="46373"/>
                  </a:quadBezTo>
                  <a:quadBezTo>
                    <a:pt x="85426" y="59959"/>
                    <a:pt x="79939" y="70688"/>
                  </a:quadBezTo>
                  <a:quadBezTo>
                    <a:pt x="74461" y="81416"/>
                    <a:pt x="64402" y="86934"/>
                  </a:quadBezTo>
                  <a:quadBezTo>
                    <a:pt x="54353" y="92441"/>
                    <a:pt x="42718" y="92441"/>
                  </a:quadBezTo>
                  <a:quadBezTo>
                    <a:pt x="30097" y="92441"/>
                    <a:pt x="20167" y="86352"/>
                  </a:quadBezTo>
                  <a:quadBezTo>
                    <a:pt x="10236" y="80254"/>
                    <a:pt x="5113" y="69712"/>
                  </a:quadBezTo>
                  <a:quadBezTo>
                    <a:pt x="0" y="59171"/>
                    <a:pt x="0" y="47407"/>
                  </a:quadBezTo>
                  <a:close/>
                  <a:moveTo>
                    <a:pt x="12186" y="47595"/>
                  </a:moveTo>
                  <a:quadBezTo>
                    <a:pt x="12186" y="63742"/>
                    <a:pt x="20866" y="73032"/>
                  </a:quadBezTo>
                  <a:quadBezTo>
                    <a:pt x="29556" y="82323"/>
                    <a:pt x="42649" y="82323"/>
                  </a:quadBezTo>
                  <a:quadBezTo>
                    <a:pt x="55998" y="82323"/>
                    <a:pt x="64619" y="72944"/>
                  </a:quadBezTo>
                  <a:quadBezTo>
                    <a:pt x="73239" y="63555"/>
                    <a:pt x="73239" y="46314"/>
                  </a:quadBezTo>
                  <a:quadBezTo>
                    <a:pt x="73239" y="35408"/>
                    <a:pt x="69555" y="27270"/>
                  </a:quadBezTo>
                  <a:quadBezTo>
                    <a:pt x="65870" y="19132"/>
                    <a:pt x="58767" y="14659"/>
                  </a:quadBezTo>
                  <a:quadBezTo>
                    <a:pt x="51673" y="10177"/>
                    <a:pt x="42836" y="10177"/>
                  </a:quadBezTo>
                  <a:quadBezTo>
                    <a:pt x="30285" y="10177"/>
                    <a:pt x="21231" y="18807"/>
                  </a:quadBezTo>
                  <a:quadBezTo>
                    <a:pt x="12186" y="27427"/>
                    <a:pt x="12186" y="47595"/>
                  </a:quad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103" name="AtomLabel14">
              <a:extLst>
                <a:ext uri="{FF2B5EF4-FFF2-40B4-BE49-F238E27FC236}">
                  <a16:creationId xmlns:a16="http://schemas.microsoft.com/office/drawing/2014/main" id="{83EFE91A-55C0-448E-A603-A9267B02C81B}"/>
                </a:ext>
              </a:extLst>
            </p:cNvPr>
            <p:cNvSpPr/>
            <p:nvPr/>
          </p:nvSpPr>
          <p:spPr>
            <a:xfrm>
              <a:off x="3739518" y="744450"/>
              <a:ext cx="85434" cy="92381"/>
            </a:xfrm>
            <a:custGeom>
              <a:avLst/>
              <a:gdLst/>
              <a:ahLst/>
              <a:cxnLst/>
              <a:rect l="l" t="t" r="r" b="b"/>
              <a:pathLst>
                <a:path w="85436" h="92441">
                  <a:moveTo>
                    <a:pt x="0" y="47407"/>
                  </a:moveTo>
                  <a:quadBezTo>
                    <a:pt x="0" y="25171"/>
                    <a:pt x="11940" y="12590"/>
                  </a:quadBezTo>
                  <a:quadBezTo>
                    <a:pt x="23881" y="0"/>
                    <a:pt x="42777" y="0"/>
                  </a:quadBezTo>
                  <a:quadBezTo>
                    <a:pt x="55141" y="0"/>
                    <a:pt x="65072" y="5911"/>
                  </a:quadBezTo>
                  <a:quadBezTo>
                    <a:pt x="75013" y="11822"/>
                    <a:pt x="80214" y="22403"/>
                  </a:quadBezTo>
                  <a:quadBezTo>
                    <a:pt x="85426" y="32974"/>
                    <a:pt x="85426" y="46373"/>
                  </a:quadBezTo>
                  <a:quadBezTo>
                    <a:pt x="85426" y="59959"/>
                    <a:pt x="79939" y="70688"/>
                  </a:quadBezTo>
                  <a:quadBezTo>
                    <a:pt x="74461" y="81416"/>
                    <a:pt x="64402" y="86934"/>
                  </a:quadBezTo>
                  <a:quadBezTo>
                    <a:pt x="54353" y="92441"/>
                    <a:pt x="42718" y="92441"/>
                  </a:quadBezTo>
                  <a:quadBezTo>
                    <a:pt x="30097" y="92441"/>
                    <a:pt x="20167" y="86352"/>
                  </a:quadBezTo>
                  <a:quadBezTo>
                    <a:pt x="10236" y="80254"/>
                    <a:pt x="5113" y="69712"/>
                  </a:quadBezTo>
                  <a:quadBezTo>
                    <a:pt x="0" y="59171"/>
                    <a:pt x="0" y="47407"/>
                  </a:quadBezTo>
                  <a:close/>
                  <a:moveTo>
                    <a:pt x="12186" y="47595"/>
                  </a:moveTo>
                  <a:quadBezTo>
                    <a:pt x="12186" y="63742"/>
                    <a:pt x="20866" y="73032"/>
                  </a:quadBezTo>
                  <a:quadBezTo>
                    <a:pt x="29556" y="82323"/>
                    <a:pt x="42649" y="82323"/>
                  </a:quadBezTo>
                  <a:quadBezTo>
                    <a:pt x="55998" y="82323"/>
                    <a:pt x="64619" y="72944"/>
                  </a:quadBezTo>
                  <a:quadBezTo>
                    <a:pt x="73239" y="63555"/>
                    <a:pt x="73239" y="46314"/>
                  </a:quadBezTo>
                  <a:quadBezTo>
                    <a:pt x="73239" y="35408"/>
                    <a:pt x="69555" y="27270"/>
                  </a:quadBezTo>
                  <a:quadBezTo>
                    <a:pt x="65870" y="19132"/>
                    <a:pt x="58767" y="14659"/>
                  </a:quadBezTo>
                  <a:quadBezTo>
                    <a:pt x="51673" y="10177"/>
                    <a:pt x="42836" y="10177"/>
                  </a:quadBezTo>
                  <a:quadBezTo>
                    <a:pt x="30285" y="10177"/>
                    <a:pt x="21231" y="18807"/>
                  </a:quadBezTo>
                  <a:quadBezTo>
                    <a:pt x="12186" y="27427"/>
                    <a:pt x="12186" y="47595"/>
                  </a:quad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104" name="AtomLabel15">
              <a:extLst>
                <a:ext uri="{FF2B5EF4-FFF2-40B4-BE49-F238E27FC236}">
                  <a16:creationId xmlns:a16="http://schemas.microsoft.com/office/drawing/2014/main" id="{539F7282-49A5-421D-88AB-ED805213893E}"/>
                </a:ext>
              </a:extLst>
            </p:cNvPr>
            <p:cNvSpPr/>
            <p:nvPr/>
          </p:nvSpPr>
          <p:spPr>
            <a:xfrm>
              <a:off x="4068601" y="744450"/>
              <a:ext cx="85434" cy="92381"/>
            </a:xfrm>
            <a:custGeom>
              <a:avLst/>
              <a:gdLst/>
              <a:ahLst/>
              <a:cxnLst/>
              <a:rect l="l" t="t" r="r" b="b"/>
              <a:pathLst>
                <a:path w="85436" h="92441">
                  <a:moveTo>
                    <a:pt x="0" y="47407"/>
                  </a:moveTo>
                  <a:quadBezTo>
                    <a:pt x="0" y="25171"/>
                    <a:pt x="11940" y="12590"/>
                  </a:quadBezTo>
                  <a:quadBezTo>
                    <a:pt x="23881" y="0"/>
                    <a:pt x="42777" y="0"/>
                  </a:quadBezTo>
                  <a:quadBezTo>
                    <a:pt x="55141" y="0"/>
                    <a:pt x="65072" y="5911"/>
                  </a:quadBezTo>
                  <a:quadBezTo>
                    <a:pt x="75013" y="11822"/>
                    <a:pt x="80214" y="22403"/>
                  </a:quadBezTo>
                  <a:quadBezTo>
                    <a:pt x="85426" y="32974"/>
                    <a:pt x="85426" y="46373"/>
                  </a:quadBezTo>
                  <a:quadBezTo>
                    <a:pt x="85426" y="59959"/>
                    <a:pt x="79939" y="70688"/>
                  </a:quadBezTo>
                  <a:quadBezTo>
                    <a:pt x="74461" y="81416"/>
                    <a:pt x="64402" y="86934"/>
                  </a:quadBezTo>
                  <a:quadBezTo>
                    <a:pt x="54353" y="92441"/>
                    <a:pt x="42718" y="92441"/>
                  </a:quadBezTo>
                  <a:quadBezTo>
                    <a:pt x="30097" y="92441"/>
                    <a:pt x="20167" y="86352"/>
                  </a:quadBezTo>
                  <a:quadBezTo>
                    <a:pt x="10236" y="80254"/>
                    <a:pt x="5113" y="69712"/>
                  </a:quadBezTo>
                  <a:quadBezTo>
                    <a:pt x="0" y="59171"/>
                    <a:pt x="0" y="47407"/>
                  </a:quadBezTo>
                  <a:close/>
                  <a:moveTo>
                    <a:pt x="12186" y="47595"/>
                  </a:moveTo>
                  <a:quadBezTo>
                    <a:pt x="12186" y="63742"/>
                    <a:pt x="20866" y="73032"/>
                  </a:quadBezTo>
                  <a:quadBezTo>
                    <a:pt x="29556" y="82323"/>
                    <a:pt x="42649" y="82323"/>
                  </a:quadBezTo>
                  <a:quadBezTo>
                    <a:pt x="55998" y="82323"/>
                    <a:pt x="64619" y="72944"/>
                  </a:quadBezTo>
                  <a:quadBezTo>
                    <a:pt x="73239" y="63555"/>
                    <a:pt x="73239" y="46314"/>
                  </a:quadBezTo>
                  <a:quadBezTo>
                    <a:pt x="73239" y="35408"/>
                    <a:pt x="69555" y="27270"/>
                  </a:quadBezTo>
                  <a:quadBezTo>
                    <a:pt x="65870" y="19132"/>
                    <a:pt x="58767" y="14659"/>
                  </a:quadBezTo>
                  <a:quadBezTo>
                    <a:pt x="51673" y="10177"/>
                    <a:pt x="42836" y="10177"/>
                  </a:quadBezTo>
                  <a:quadBezTo>
                    <a:pt x="30285" y="10177"/>
                    <a:pt x="21231" y="18807"/>
                  </a:quadBezTo>
                  <a:quadBezTo>
                    <a:pt x="12186" y="27427"/>
                    <a:pt x="12186" y="47595"/>
                  </a:quad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105" name="AtomLabel16">
              <a:extLst>
                <a:ext uri="{FF2B5EF4-FFF2-40B4-BE49-F238E27FC236}">
                  <a16:creationId xmlns:a16="http://schemas.microsoft.com/office/drawing/2014/main" id="{EBF62203-943B-4802-BEF1-A1EA7A7700E8}"/>
                </a:ext>
              </a:extLst>
            </p:cNvPr>
            <p:cNvSpPr/>
            <p:nvPr/>
          </p:nvSpPr>
          <p:spPr>
            <a:xfrm>
              <a:off x="4729994" y="174849"/>
              <a:ext cx="78971" cy="92322"/>
            </a:xfrm>
            <a:custGeom>
              <a:avLst/>
              <a:gdLst/>
              <a:ahLst/>
              <a:cxnLst/>
              <a:rect l="l" t="t" r="r" b="b"/>
              <a:pathLst>
                <a:path w="78973" h="92382">
                  <a:moveTo>
                    <a:pt x="67141" y="59535"/>
                  </a:moveTo>
                  <a:lnTo>
                    <a:pt x="78963" y="62520"/>
                  </a:lnTo>
                  <a:quadBezTo>
                    <a:pt x="75249" y="77091"/>
                    <a:pt x="65584" y="84737"/>
                  </a:quadBezTo>
                  <a:quadBezTo>
                    <a:pt x="55929" y="92382"/>
                    <a:pt x="41979" y="92382"/>
                  </a:quadBezTo>
                  <a:quadBezTo>
                    <a:pt x="27536" y="92382"/>
                    <a:pt x="18482" y="86500"/>
                  </a:quadBezTo>
                  <a:quadBezTo>
                    <a:pt x="9438" y="80618"/>
                    <a:pt x="4709" y="69476"/>
                  </a:quadBezTo>
                  <a:quadBezTo>
                    <a:pt x="-9" y="58323"/>
                    <a:pt x="-9" y="45526"/>
                  </a:quadBezTo>
                  <a:quadBezTo>
                    <a:pt x="-9" y="31565"/>
                    <a:pt x="5320" y="21181"/>
                  </a:quadBezTo>
                  <a:quadBezTo>
                    <a:pt x="10659" y="10787"/>
                    <a:pt x="20502" y="5398"/>
                  </a:quadBezTo>
                  <a:quadBezTo>
                    <a:pt x="30344" y="9"/>
                    <a:pt x="42156" y="9"/>
                  </a:quadBezTo>
                  <a:quadBezTo>
                    <a:pt x="55565" y="9"/>
                    <a:pt x="64707" y="6837"/>
                  </a:quadBezTo>
                  <a:quadBezTo>
                    <a:pt x="73850" y="13654"/>
                    <a:pt x="77446" y="26028"/>
                  </a:quadBezTo>
                  <a:lnTo>
                    <a:pt x="65801" y="28767"/>
                  </a:lnTo>
                  <a:quadBezTo>
                    <a:pt x="62698" y="19014"/>
                    <a:pt x="56786" y="14571"/>
                  </a:quadBezTo>
                  <a:quadBezTo>
                    <a:pt x="50875" y="10118"/>
                    <a:pt x="41920" y="10118"/>
                  </a:quadBezTo>
                  <a:quadBezTo>
                    <a:pt x="31615" y="10118"/>
                    <a:pt x="24698" y="15053"/>
                  </a:quadBezTo>
                  <a:quadBezTo>
                    <a:pt x="17782" y="19989"/>
                    <a:pt x="14975" y="28314"/>
                  </a:quadBezTo>
                  <a:quadBezTo>
                    <a:pt x="12177" y="36629"/>
                    <a:pt x="12177" y="45466"/>
                  </a:quadBezTo>
                  <a:quadBezTo>
                    <a:pt x="12177" y="56855"/>
                    <a:pt x="15497" y="65358"/>
                  </a:quadBezTo>
                  <a:quadBezTo>
                    <a:pt x="18827" y="73860"/>
                    <a:pt x="25831" y="78067"/>
                  </a:quadBezTo>
                  <a:quadBezTo>
                    <a:pt x="32836" y="82264"/>
                    <a:pt x="41004" y="82264"/>
                  </a:quadBezTo>
                  <a:quadBezTo>
                    <a:pt x="50934" y="82264"/>
                    <a:pt x="57821" y="76540"/>
                  </a:quadBezTo>
                  <a:quadBezTo>
                    <a:pt x="64707" y="70816"/>
                    <a:pt x="67141" y="59535"/>
                  </a:quad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106" name="AtomLabel17">
              <a:extLst>
                <a:ext uri="{FF2B5EF4-FFF2-40B4-BE49-F238E27FC236}">
                  <a16:creationId xmlns:a16="http://schemas.microsoft.com/office/drawing/2014/main" id="{17C2F2F6-5230-4C71-8583-CBD7D0B348E3}"/>
                </a:ext>
              </a:extLst>
            </p:cNvPr>
            <p:cNvSpPr/>
            <p:nvPr/>
          </p:nvSpPr>
          <p:spPr>
            <a:xfrm>
              <a:off x="4820117" y="176375"/>
              <a:ext cx="70075" cy="89270"/>
            </a:xfrm>
            <a:custGeom>
              <a:avLst/>
              <a:gdLst/>
              <a:ahLst/>
              <a:cxnLst/>
              <a:rect l="l" t="t" r="r" b="b"/>
              <a:pathLst>
                <a:path w="70077" h="89328">
                  <a:moveTo>
                    <a:pt x="0" y="89328"/>
                  </a:moveTo>
                  <a:lnTo>
                    <a:pt x="0" y="0"/>
                  </a:lnTo>
                  <a:lnTo>
                    <a:pt x="11822" y="0"/>
                  </a:lnTo>
                  <a:lnTo>
                    <a:pt x="11822" y="36688"/>
                  </a:lnTo>
                  <a:lnTo>
                    <a:pt x="58254" y="36688"/>
                  </a:lnTo>
                  <a:lnTo>
                    <a:pt x="58254" y="0"/>
                  </a:lnTo>
                  <a:lnTo>
                    <a:pt x="70077" y="0"/>
                  </a:lnTo>
                  <a:lnTo>
                    <a:pt x="70077" y="89328"/>
                  </a:lnTo>
                  <a:lnTo>
                    <a:pt x="58254" y="89328"/>
                  </a:lnTo>
                  <a:lnTo>
                    <a:pt x="58254" y="47230"/>
                  </a:lnTo>
                  <a:lnTo>
                    <a:pt x="11822" y="47230"/>
                  </a:lnTo>
                  <a:lnTo>
                    <a:pt x="11822" y="8932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107" name="AtomLabel18">
              <a:extLst>
                <a:ext uri="{FF2B5EF4-FFF2-40B4-BE49-F238E27FC236}">
                  <a16:creationId xmlns:a16="http://schemas.microsoft.com/office/drawing/2014/main" id="{303E3C11-337F-47D9-A35F-9DD6475D61C7}"/>
                </a:ext>
              </a:extLst>
            </p:cNvPr>
            <p:cNvSpPr/>
            <p:nvPr/>
          </p:nvSpPr>
          <p:spPr>
            <a:xfrm>
              <a:off x="4910242" y="228534"/>
              <a:ext cx="35099" cy="54731"/>
            </a:xfrm>
            <a:custGeom>
              <a:avLst/>
              <a:gdLst/>
              <a:ahLst/>
              <a:cxnLst/>
              <a:rect l="l" t="t" r="r" b="b"/>
              <a:pathLst>
                <a:path w="35100" h="54767">
                  <a:moveTo>
                    <a:pt x="-5" y="39670"/>
                  </a:moveTo>
                  <a:lnTo>
                    <a:pt x="6579" y="38789"/>
                  </a:lnTo>
                  <a:quadBezTo>
                    <a:pt x="7708" y="44387"/>
                    <a:pt x="10433" y="46858"/>
                  </a:quadBezTo>
                  <a:quadBezTo>
                    <a:pt x="13158" y="49323"/>
                    <a:pt x="17071" y="49323"/>
                  </a:quadBezTo>
                  <a:quadBezTo>
                    <a:pt x="21711" y="49323"/>
                    <a:pt x="24909" y="46107"/>
                  </a:quadBezTo>
                  <a:quadBezTo>
                    <a:pt x="28113" y="42885"/>
                    <a:pt x="28113" y="38133"/>
                  </a:quadBezTo>
                  <a:quadBezTo>
                    <a:pt x="28113" y="33599"/>
                    <a:pt x="25152" y="30655"/>
                  </a:quadBezTo>
                  <a:quadBezTo>
                    <a:pt x="22190" y="27711"/>
                    <a:pt x="17621" y="27711"/>
                  </a:quadBezTo>
                  <a:quadBezTo>
                    <a:pt x="15753" y="27711"/>
                    <a:pt x="12975" y="28444"/>
                  </a:quadBezTo>
                  <a:lnTo>
                    <a:pt x="13708" y="22669"/>
                  </a:lnTo>
                  <a:quadBezTo>
                    <a:pt x="14364" y="22740"/>
                    <a:pt x="14766" y="22740"/>
                  </a:quadBezTo>
                  <a:quadBezTo>
                    <a:pt x="18969" y="22740"/>
                    <a:pt x="22332" y="20547"/>
                  </a:quadBezTo>
                  <a:quadBezTo>
                    <a:pt x="25701" y="18354"/>
                    <a:pt x="25701" y="13784"/>
                  </a:quadBezTo>
                  <a:quadBezTo>
                    <a:pt x="25701" y="10167"/>
                    <a:pt x="23248" y="7790"/>
                  </a:quadBezTo>
                  <a:quadBezTo>
                    <a:pt x="20801" y="5408"/>
                    <a:pt x="16923" y="5408"/>
                  </a:quadBezTo>
                  <a:quadBezTo>
                    <a:pt x="13087" y="5408"/>
                    <a:pt x="10527" y="7826"/>
                  </a:quadBezTo>
                  <a:quadBezTo>
                    <a:pt x="7968" y="10238"/>
                    <a:pt x="7235" y="15061"/>
                  </a:quadBezTo>
                  <a:lnTo>
                    <a:pt x="656" y="13891"/>
                  </a:lnTo>
                  <a:quadBezTo>
                    <a:pt x="1862" y="7276"/>
                    <a:pt x="6135" y="3641"/>
                  </a:quadBezTo>
                  <a:quadBezTo>
                    <a:pt x="10415" y="0"/>
                    <a:pt x="16775" y="0"/>
                  </a:quadBezTo>
                  <a:quadBezTo>
                    <a:pt x="21168" y="0"/>
                    <a:pt x="24856" y="1885"/>
                  </a:quadBezTo>
                  <a:quadBezTo>
                    <a:pt x="28551" y="3765"/>
                    <a:pt x="30507" y="7022"/>
                  </a:quadBezTo>
                  <a:quadBezTo>
                    <a:pt x="32464" y="10273"/>
                    <a:pt x="32464" y="13932"/>
                  </a:quadBezTo>
                  <a:quadBezTo>
                    <a:pt x="32464" y="17402"/>
                    <a:pt x="30596" y="20257"/>
                  </a:quadBezTo>
                  <a:quadBezTo>
                    <a:pt x="28734" y="23106"/>
                    <a:pt x="25075" y="24791"/>
                  </a:quadBezTo>
                  <a:quadBezTo>
                    <a:pt x="29827" y="25885"/>
                    <a:pt x="32458" y="29343"/>
                  </a:quadBezTo>
                  <a:quadBezTo>
                    <a:pt x="35094" y="32795"/>
                    <a:pt x="35094" y="37985"/>
                  </a:quadBezTo>
                  <a:quadBezTo>
                    <a:pt x="35094" y="45007"/>
                    <a:pt x="29975" y="49890"/>
                  </a:quadBezTo>
                  <a:quadBezTo>
                    <a:pt x="24856" y="54767"/>
                    <a:pt x="17036" y="54767"/>
                  </a:quadBezTo>
                  <a:quadBezTo>
                    <a:pt x="9978" y="54767"/>
                    <a:pt x="5314" y="50564"/>
                  </a:quadBezTo>
                  <a:quadBezTo>
                    <a:pt x="656" y="46361"/>
                    <a:pt x="-5" y="39670"/>
                  </a:quad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108" name="AtomLabel19">
              <a:extLst>
                <a:ext uri="{FF2B5EF4-FFF2-40B4-BE49-F238E27FC236}">
                  <a16:creationId xmlns:a16="http://schemas.microsoft.com/office/drawing/2014/main" id="{7F37958E-05BD-4F1F-9C32-33D8D2F3A994}"/>
                </a:ext>
              </a:extLst>
            </p:cNvPr>
            <p:cNvSpPr/>
            <p:nvPr/>
          </p:nvSpPr>
          <p:spPr>
            <a:xfrm>
              <a:off x="4565454" y="269788"/>
              <a:ext cx="78971" cy="92322"/>
            </a:xfrm>
            <a:custGeom>
              <a:avLst/>
              <a:gdLst/>
              <a:ahLst/>
              <a:cxnLst/>
              <a:rect l="l" t="t" r="r" b="b"/>
              <a:pathLst>
                <a:path w="78973" h="92382">
                  <a:moveTo>
                    <a:pt x="67141" y="59535"/>
                  </a:moveTo>
                  <a:lnTo>
                    <a:pt x="78963" y="62520"/>
                  </a:lnTo>
                  <a:quadBezTo>
                    <a:pt x="75249" y="77091"/>
                    <a:pt x="65584" y="84737"/>
                  </a:quadBezTo>
                  <a:quadBezTo>
                    <a:pt x="55929" y="92382"/>
                    <a:pt x="41979" y="92382"/>
                  </a:quadBezTo>
                  <a:quadBezTo>
                    <a:pt x="27536" y="92382"/>
                    <a:pt x="18482" y="86500"/>
                  </a:quadBezTo>
                  <a:quadBezTo>
                    <a:pt x="9438" y="80618"/>
                    <a:pt x="4709" y="69476"/>
                  </a:quadBezTo>
                  <a:quadBezTo>
                    <a:pt x="-9" y="58323"/>
                    <a:pt x="-9" y="45526"/>
                  </a:quadBezTo>
                  <a:quadBezTo>
                    <a:pt x="-9" y="31565"/>
                    <a:pt x="5320" y="21181"/>
                  </a:quadBezTo>
                  <a:quadBezTo>
                    <a:pt x="10659" y="10787"/>
                    <a:pt x="20502" y="5398"/>
                  </a:quadBezTo>
                  <a:quadBezTo>
                    <a:pt x="30344" y="9"/>
                    <a:pt x="42156" y="9"/>
                  </a:quadBezTo>
                  <a:quadBezTo>
                    <a:pt x="55565" y="9"/>
                    <a:pt x="64707" y="6837"/>
                  </a:quadBezTo>
                  <a:quadBezTo>
                    <a:pt x="73850" y="13654"/>
                    <a:pt x="77446" y="26028"/>
                  </a:quadBezTo>
                  <a:lnTo>
                    <a:pt x="65801" y="28767"/>
                  </a:lnTo>
                  <a:quadBezTo>
                    <a:pt x="62698" y="19014"/>
                    <a:pt x="56786" y="14571"/>
                  </a:quadBezTo>
                  <a:quadBezTo>
                    <a:pt x="50875" y="10118"/>
                    <a:pt x="41920" y="10118"/>
                  </a:quadBezTo>
                  <a:quadBezTo>
                    <a:pt x="31615" y="10118"/>
                    <a:pt x="24698" y="15053"/>
                  </a:quadBezTo>
                  <a:quadBezTo>
                    <a:pt x="17782" y="19989"/>
                    <a:pt x="14975" y="28314"/>
                  </a:quadBezTo>
                  <a:quadBezTo>
                    <a:pt x="12177" y="36629"/>
                    <a:pt x="12177" y="45466"/>
                  </a:quadBezTo>
                  <a:quadBezTo>
                    <a:pt x="12177" y="56855"/>
                    <a:pt x="15497" y="65358"/>
                  </a:quadBezTo>
                  <a:quadBezTo>
                    <a:pt x="18827" y="73860"/>
                    <a:pt x="25831" y="78067"/>
                  </a:quadBezTo>
                  <a:quadBezTo>
                    <a:pt x="32836" y="82264"/>
                    <a:pt x="41004" y="82264"/>
                  </a:quadBezTo>
                  <a:quadBezTo>
                    <a:pt x="50934" y="82264"/>
                    <a:pt x="57821" y="76540"/>
                  </a:quadBezTo>
                  <a:quadBezTo>
                    <a:pt x="64707" y="70816"/>
                    <a:pt x="67141" y="59535"/>
                  </a:quad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109" name="AtomLabel20">
              <a:extLst>
                <a:ext uri="{FF2B5EF4-FFF2-40B4-BE49-F238E27FC236}">
                  <a16:creationId xmlns:a16="http://schemas.microsoft.com/office/drawing/2014/main" id="{814674A4-EEC0-4533-9297-CF67B2070B8B}"/>
                </a:ext>
              </a:extLst>
            </p:cNvPr>
            <p:cNvSpPr/>
            <p:nvPr/>
          </p:nvSpPr>
          <p:spPr>
            <a:xfrm>
              <a:off x="4430267" y="271314"/>
              <a:ext cx="70075" cy="89270"/>
            </a:xfrm>
            <a:custGeom>
              <a:avLst/>
              <a:gdLst/>
              <a:ahLst/>
              <a:cxnLst/>
              <a:rect l="l" t="t" r="r" b="b"/>
              <a:pathLst>
                <a:path w="70077" h="89328">
                  <a:moveTo>
                    <a:pt x="0" y="89328"/>
                  </a:moveTo>
                  <a:lnTo>
                    <a:pt x="0" y="0"/>
                  </a:lnTo>
                  <a:lnTo>
                    <a:pt x="11822" y="0"/>
                  </a:lnTo>
                  <a:lnTo>
                    <a:pt x="11822" y="36688"/>
                  </a:lnTo>
                  <a:lnTo>
                    <a:pt x="58254" y="36688"/>
                  </a:lnTo>
                  <a:lnTo>
                    <a:pt x="58254" y="0"/>
                  </a:lnTo>
                  <a:lnTo>
                    <a:pt x="70077" y="0"/>
                  </a:lnTo>
                  <a:lnTo>
                    <a:pt x="70077" y="89328"/>
                  </a:lnTo>
                  <a:lnTo>
                    <a:pt x="58254" y="89328"/>
                  </a:lnTo>
                  <a:lnTo>
                    <a:pt x="58254" y="47230"/>
                  </a:lnTo>
                  <a:lnTo>
                    <a:pt x="11822" y="47230"/>
                  </a:lnTo>
                  <a:lnTo>
                    <a:pt x="11822" y="8932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110" name="AtomLabel21">
              <a:extLst>
                <a:ext uri="{FF2B5EF4-FFF2-40B4-BE49-F238E27FC236}">
                  <a16:creationId xmlns:a16="http://schemas.microsoft.com/office/drawing/2014/main" id="{6937870A-CE98-4A32-A1C0-4CE9F7A9F184}"/>
                </a:ext>
              </a:extLst>
            </p:cNvPr>
            <p:cNvSpPr/>
            <p:nvPr/>
          </p:nvSpPr>
          <p:spPr>
            <a:xfrm>
              <a:off x="4520392" y="323473"/>
              <a:ext cx="35099" cy="54731"/>
            </a:xfrm>
            <a:custGeom>
              <a:avLst/>
              <a:gdLst/>
              <a:ahLst/>
              <a:cxnLst/>
              <a:rect l="l" t="t" r="r" b="b"/>
              <a:pathLst>
                <a:path w="35100" h="54767">
                  <a:moveTo>
                    <a:pt x="-5" y="39670"/>
                  </a:moveTo>
                  <a:lnTo>
                    <a:pt x="6579" y="38789"/>
                  </a:lnTo>
                  <a:quadBezTo>
                    <a:pt x="7708" y="44387"/>
                    <a:pt x="10433" y="46858"/>
                  </a:quadBezTo>
                  <a:quadBezTo>
                    <a:pt x="13158" y="49323"/>
                    <a:pt x="17071" y="49323"/>
                  </a:quadBezTo>
                  <a:quadBezTo>
                    <a:pt x="21711" y="49323"/>
                    <a:pt x="24909" y="46107"/>
                  </a:quadBezTo>
                  <a:quadBezTo>
                    <a:pt x="28113" y="42885"/>
                    <a:pt x="28113" y="38133"/>
                  </a:quadBezTo>
                  <a:quadBezTo>
                    <a:pt x="28113" y="33599"/>
                    <a:pt x="25152" y="30655"/>
                  </a:quadBezTo>
                  <a:quadBezTo>
                    <a:pt x="22190" y="27711"/>
                    <a:pt x="17621" y="27711"/>
                  </a:quadBezTo>
                  <a:quadBezTo>
                    <a:pt x="15753" y="27711"/>
                    <a:pt x="12975" y="28444"/>
                  </a:quadBezTo>
                  <a:lnTo>
                    <a:pt x="13708" y="22669"/>
                  </a:lnTo>
                  <a:quadBezTo>
                    <a:pt x="14364" y="22740"/>
                    <a:pt x="14766" y="22740"/>
                  </a:quadBezTo>
                  <a:quadBezTo>
                    <a:pt x="18969" y="22740"/>
                    <a:pt x="22332" y="20547"/>
                  </a:quadBezTo>
                  <a:quadBezTo>
                    <a:pt x="25701" y="18354"/>
                    <a:pt x="25701" y="13784"/>
                  </a:quadBezTo>
                  <a:quadBezTo>
                    <a:pt x="25701" y="10167"/>
                    <a:pt x="23248" y="7790"/>
                  </a:quadBezTo>
                  <a:quadBezTo>
                    <a:pt x="20801" y="5408"/>
                    <a:pt x="16923" y="5408"/>
                  </a:quadBezTo>
                  <a:quadBezTo>
                    <a:pt x="13087" y="5408"/>
                    <a:pt x="10527" y="7826"/>
                  </a:quadBezTo>
                  <a:quadBezTo>
                    <a:pt x="7968" y="10238"/>
                    <a:pt x="7235" y="15061"/>
                  </a:quadBezTo>
                  <a:lnTo>
                    <a:pt x="656" y="13891"/>
                  </a:lnTo>
                  <a:quadBezTo>
                    <a:pt x="1862" y="7276"/>
                    <a:pt x="6135" y="3641"/>
                  </a:quadBezTo>
                  <a:quadBezTo>
                    <a:pt x="10415" y="0"/>
                    <a:pt x="16775" y="0"/>
                  </a:quadBezTo>
                  <a:quadBezTo>
                    <a:pt x="21168" y="0"/>
                    <a:pt x="24856" y="1885"/>
                  </a:quadBezTo>
                  <a:quadBezTo>
                    <a:pt x="28551" y="3765"/>
                    <a:pt x="30507" y="7022"/>
                  </a:quadBezTo>
                  <a:quadBezTo>
                    <a:pt x="32464" y="10273"/>
                    <a:pt x="32464" y="13932"/>
                  </a:quadBezTo>
                  <a:quadBezTo>
                    <a:pt x="32464" y="17402"/>
                    <a:pt x="30596" y="20257"/>
                  </a:quadBezTo>
                  <a:quadBezTo>
                    <a:pt x="28734" y="23106"/>
                    <a:pt x="25075" y="24791"/>
                  </a:quadBezTo>
                  <a:quadBezTo>
                    <a:pt x="29827" y="25885"/>
                    <a:pt x="32458" y="29343"/>
                  </a:quadBezTo>
                  <a:quadBezTo>
                    <a:pt x="35094" y="32795"/>
                    <a:pt x="35094" y="37985"/>
                  </a:quadBezTo>
                  <a:quadBezTo>
                    <a:pt x="35094" y="45007"/>
                    <a:pt x="29975" y="49890"/>
                  </a:quadBezTo>
                  <a:quadBezTo>
                    <a:pt x="24856" y="54767"/>
                    <a:pt x="17036" y="54767"/>
                  </a:quadBezTo>
                  <a:quadBezTo>
                    <a:pt x="9978" y="54767"/>
                    <a:pt x="5314" y="50564"/>
                  </a:quadBezTo>
                  <a:quadBezTo>
                    <a:pt x="656" y="46361"/>
                    <a:pt x="-5" y="39670"/>
                  </a:quad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111" name="AtomLabel22">
              <a:extLst>
                <a:ext uri="{FF2B5EF4-FFF2-40B4-BE49-F238E27FC236}">
                  <a16:creationId xmlns:a16="http://schemas.microsoft.com/office/drawing/2014/main" id="{E9F53B8B-1C37-4541-A318-D578901404BC}"/>
                </a:ext>
              </a:extLst>
            </p:cNvPr>
            <p:cNvSpPr/>
            <p:nvPr/>
          </p:nvSpPr>
          <p:spPr>
            <a:xfrm>
              <a:off x="3904060" y="459634"/>
              <a:ext cx="85434" cy="92381"/>
            </a:xfrm>
            <a:custGeom>
              <a:avLst/>
              <a:gdLst/>
              <a:ahLst/>
              <a:cxnLst/>
              <a:rect l="l" t="t" r="r" b="b"/>
              <a:pathLst>
                <a:path w="85436" h="92441">
                  <a:moveTo>
                    <a:pt x="0" y="47407"/>
                  </a:moveTo>
                  <a:quadBezTo>
                    <a:pt x="0" y="25171"/>
                    <a:pt x="11940" y="12590"/>
                  </a:quadBezTo>
                  <a:quadBezTo>
                    <a:pt x="23881" y="0"/>
                    <a:pt x="42777" y="0"/>
                  </a:quadBezTo>
                  <a:quadBezTo>
                    <a:pt x="55141" y="0"/>
                    <a:pt x="65072" y="5911"/>
                  </a:quadBezTo>
                  <a:quadBezTo>
                    <a:pt x="75013" y="11822"/>
                    <a:pt x="80214" y="22403"/>
                  </a:quadBezTo>
                  <a:quadBezTo>
                    <a:pt x="85426" y="32974"/>
                    <a:pt x="85426" y="46373"/>
                  </a:quadBezTo>
                  <a:quadBezTo>
                    <a:pt x="85426" y="59959"/>
                    <a:pt x="79939" y="70688"/>
                  </a:quadBezTo>
                  <a:quadBezTo>
                    <a:pt x="74461" y="81416"/>
                    <a:pt x="64402" y="86934"/>
                  </a:quadBezTo>
                  <a:quadBezTo>
                    <a:pt x="54353" y="92441"/>
                    <a:pt x="42718" y="92441"/>
                  </a:quadBezTo>
                  <a:quadBezTo>
                    <a:pt x="30097" y="92441"/>
                    <a:pt x="20167" y="86352"/>
                  </a:quadBezTo>
                  <a:quadBezTo>
                    <a:pt x="10236" y="80254"/>
                    <a:pt x="5113" y="69712"/>
                  </a:quadBezTo>
                  <a:quadBezTo>
                    <a:pt x="0" y="59171"/>
                    <a:pt x="0" y="47407"/>
                  </a:quadBezTo>
                  <a:close/>
                  <a:moveTo>
                    <a:pt x="12186" y="47595"/>
                  </a:moveTo>
                  <a:quadBezTo>
                    <a:pt x="12186" y="63742"/>
                    <a:pt x="20866" y="73032"/>
                  </a:quadBezTo>
                  <a:quadBezTo>
                    <a:pt x="29556" y="82323"/>
                    <a:pt x="42649" y="82323"/>
                  </a:quadBezTo>
                  <a:quadBezTo>
                    <a:pt x="55998" y="82323"/>
                    <a:pt x="64619" y="72944"/>
                  </a:quadBezTo>
                  <a:quadBezTo>
                    <a:pt x="73239" y="63555"/>
                    <a:pt x="73239" y="46314"/>
                  </a:quadBezTo>
                  <a:quadBezTo>
                    <a:pt x="73239" y="35408"/>
                    <a:pt x="69555" y="27270"/>
                  </a:quadBezTo>
                  <a:quadBezTo>
                    <a:pt x="65870" y="19132"/>
                    <a:pt x="58767" y="14659"/>
                  </a:quadBezTo>
                  <a:quadBezTo>
                    <a:pt x="51673" y="10177"/>
                    <a:pt x="42836" y="10177"/>
                  </a:quadBezTo>
                  <a:quadBezTo>
                    <a:pt x="30285" y="10177"/>
                    <a:pt x="21231" y="18807"/>
                  </a:quadBezTo>
                  <a:quadBezTo>
                    <a:pt x="12186" y="27427"/>
                    <a:pt x="12186" y="47595"/>
                  </a:quad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112" name="AtomLabel23">
              <a:extLst>
                <a:ext uri="{FF2B5EF4-FFF2-40B4-BE49-F238E27FC236}">
                  <a16:creationId xmlns:a16="http://schemas.microsoft.com/office/drawing/2014/main" id="{0858CD36-2C5E-4CAF-AE55-EADA27CA1C2A}"/>
                </a:ext>
              </a:extLst>
            </p:cNvPr>
            <p:cNvSpPr/>
            <p:nvPr/>
          </p:nvSpPr>
          <p:spPr>
            <a:xfrm>
              <a:off x="3084588" y="174849"/>
              <a:ext cx="78971" cy="92322"/>
            </a:xfrm>
            <a:custGeom>
              <a:avLst/>
              <a:gdLst/>
              <a:ahLst/>
              <a:cxnLst/>
              <a:rect l="l" t="t" r="r" b="b"/>
              <a:pathLst>
                <a:path w="78973" h="92382">
                  <a:moveTo>
                    <a:pt x="67141" y="59535"/>
                  </a:moveTo>
                  <a:lnTo>
                    <a:pt x="78963" y="62520"/>
                  </a:lnTo>
                  <a:quadBezTo>
                    <a:pt x="75249" y="77091"/>
                    <a:pt x="65584" y="84737"/>
                  </a:quadBezTo>
                  <a:quadBezTo>
                    <a:pt x="55929" y="92382"/>
                    <a:pt x="41979" y="92382"/>
                  </a:quadBezTo>
                  <a:quadBezTo>
                    <a:pt x="27536" y="92382"/>
                    <a:pt x="18482" y="86500"/>
                  </a:quadBezTo>
                  <a:quadBezTo>
                    <a:pt x="9438" y="80618"/>
                    <a:pt x="4709" y="69476"/>
                  </a:quadBezTo>
                  <a:quadBezTo>
                    <a:pt x="-9" y="58323"/>
                    <a:pt x="-9" y="45526"/>
                  </a:quadBezTo>
                  <a:quadBezTo>
                    <a:pt x="-9" y="31565"/>
                    <a:pt x="5320" y="21181"/>
                  </a:quadBezTo>
                  <a:quadBezTo>
                    <a:pt x="10659" y="10787"/>
                    <a:pt x="20502" y="5398"/>
                  </a:quadBezTo>
                  <a:quadBezTo>
                    <a:pt x="30344" y="9"/>
                    <a:pt x="42156" y="9"/>
                  </a:quadBezTo>
                  <a:quadBezTo>
                    <a:pt x="55565" y="9"/>
                    <a:pt x="64707" y="6837"/>
                  </a:quadBezTo>
                  <a:quadBezTo>
                    <a:pt x="73850" y="13654"/>
                    <a:pt x="77446" y="26028"/>
                  </a:quadBezTo>
                  <a:lnTo>
                    <a:pt x="65801" y="28767"/>
                  </a:lnTo>
                  <a:quadBezTo>
                    <a:pt x="62698" y="19014"/>
                    <a:pt x="56786" y="14571"/>
                  </a:quadBezTo>
                  <a:quadBezTo>
                    <a:pt x="50875" y="10118"/>
                    <a:pt x="41920" y="10118"/>
                  </a:quadBezTo>
                  <a:quadBezTo>
                    <a:pt x="31615" y="10118"/>
                    <a:pt x="24698" y="15053"/>
                  </a:quadBezTo>
                  <a:quadBezTo>
                    <a:pt x="17782" y="19989"/>
                    <a:pt x="14975" y="28314"/>
                  </a:quadBezTo>
                  <a:quadBezTo>
                    <a:pt x="12177" y="36629"/>
                    <a:pt x="12177" y="45466"/>
                  </a:quadBezTo>
                  <a:quadBezTo>
                    <a:pt x="12177" y="56855"/>
                    <a:pt x="15497" y="65358"/>
                  </a:quadBezTo>
                  <a:quadBezTo>
                    <a:pt x="18827" y="73860"/>
                    <a:pt x="25831" y="78067"/>
                  </a:quadBezTo>
                  <a:quadBezTo>
                    <a:pt x="32836" y="82264"/>
                    <a:pt x="41004" y="82264"/>
                  </a:quadBezTo>
                  <a:quadBezTo>
                    <a:pt x="50934" y="82264"/>
                    <a:pt x="57821" y="76540"/>
                  </a:quadBezTo>
                  <a:quadBezTo>
                    <a:pt x="64707" y="70816"/>
                    <a:pt x="67141" y="59535"/>
                  </a:quad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113" name="AtomLabel24">
              <a:extLst>
                <a:ext uri="{FF2B5EF4-FFF2-40B4-BE49-F238E27FC236}">
                  <a16:creationId xmlns:a16="http://schemas.microsoft.com/office/drawing/2014/main" id="{A5580855-A91D-46BA-9827-FBA18E2CEB7D}"/>
                </a:ext>
              </a:extLst>
            </p:cNvPr>
            <p:cNvSpPr/>
            <p:nvPr/>
          </p:nvSpPr>
          <p:spPr>
            <a:xfrm>
              <a:off x="3174712" y="176375"/>
              <a:ext cx="70075" cy="89270"/>
            </a:xfrm>
            <a:custGeom>
              <a:avLst/>
              <a:gdLst/>
              <a:ahLst/>
              <a:cxnLst/>
              <a:rect l="l" t="t" r="r" b="b"/>
              <a:pathLst>
                <a:path w="70077" h="89328">
                  <a:moveTo>
                    <a:pt x="0" y="89328"/>
                  </a:moveTo>
                  <a:lnTo>
                    <a:pt x="0" y="0"/>
                  </a:lnTo>
                  <a:lnTo>
                    <a:pt x="11822" y="0"/>
                  </a:lnTo>
                  <a:lnTo>
                    <a:pt x="11822" y="36688"/>
                  </a:lnTo>
                  <a:lnTo>
                    <a:pt x="58254" y="36688"/>
                  </a:lnTo>
                  <a:lnTo>
                    <a:pt x="58254" y="0"/>
                  </a:lnTo>
                  <a:lnTo>
                    <a:pt x="70077" y="0"/>
                  </a:lnTo>
                  <a:lnTo>
                    <a:pt x="70077" y="89328"/>
                  </a:lnTo>
                  <a:lnTo>
                    <a:pt x="58254" y="89328"/>
                  </a:lnTo>
                  <a:lnTo>
                    <a:pt x="58254" y="47230"/>
                  </a:lnTo>
                  <a:lnTo>
                    <a:pt x="11822" y="47230"/>
                  </a:lnTo>
                  <a:lnTo>
                    <a:pt x="11822" y="8932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114" name="AtomLabel25">
              <a:extLst>
                <a:ext uri="{FF2B5EF4-FFF2-40B4-BE49-F238E27FC236}">
                  <a16:creationId xmlns:a16="http://schemas.microsoft.com/office/drawing/2014/main" id="{385F1765-4F1C-4309-B59B-4FACCA64CDAE}"/>
                </a:ext>
              </a:extLst>
            </p:cNvPr>
            <p:cNvSpPr/>
            <p:nvPr/>
          </p:nvSpPr>
          <p:spPr>
            <a:xfrm>
              <a:off x="3264835" y="228534"/>
              <a:ext cx="35099" cy="54731"/>
            </a:xfrm>
            <a:custGeom>
              <a:avLst/>
              <a:gdLst/>
              <a:ahLst/>
              <a:cxnLst/>
              <a:rect l="l" t="t" r="r" b="b"/>
              <a:pathLst>
                <a:path w="35100" h="54767">
                  <a:moveTo>
                    <a:pt x="-5" y="39670"/>
                  </a:moveTo>
                  <a:lnTo>
                    <a:pt x="6579" y="38789"/>
                  </a:lnTo>
                  <a:quadBezTo>
                    <a:pt x="7708" y="44387"/>
                    <a:pt x="10433" y="46858"/>
                  </a:quadBezTo>
                  <a:quadBezTo>
                    <a:pt x="13158" y="49323"/>
                    <a:pt x="17071" y="49323"/>
                  </a:quadBezTo>
                  <a:quadBezTo>
                    <a:pt x="21711" y="49323"/>
                    <a:pt x="24909" y="46107"/>
                  </a:quadBezTo>
                  <a:quadBezTo>
                    <a:pt x="28113" y="42885"/>
                    <a:pt x="28113" y="38133"/>
                  </a:quadBezTo>
                  <a:quadBezTo>
                    <a:pt x="28113" y="33599"/>
                    <a:pt x="25152" y="30655"/>
                  </a:quadBezTo>
                  <a:quadBezTo>
                    <a:pt x="22190" y="27711"/>
                    <a:pt x="17621" y="27711"/>
                  </a:quadBezTo>
                  <a:quadBezTo>
                    <a:pt x="15753" y="27711"/>
                    <a:pt x="12975" y="28444"/>
                  </a:quadBezTo>
                  <a:lnTo>
                    <a:pt x="13708" y="22669"/>
                  </a:lnTo>
                  <a:quadBezTo>
                    <a:pt x="14364" y="22740"/>
                    <a:pt x="14766" y="22740"/>
                  </a:quadBezTo>
                  <a:quadBezTo>
                    <a:pt x="18969" y="22740"/>
                    <a:pt x="22332" y="20547"/>
                  </a:quadBezTo>
                  <a:quadBezTo>
                    <a:pt x="25701" y="18354"/>
                    <a:pt x="25701" y="13784"/>
                  </a:quadBezTo>
                  <a:quadBezTo>
                    <a:pt x="25701" y="10167"/>
                    <a:pt x="23248" y="7790"/>
                  </a:quadBezTo>
                  <a:quadBezTo>
                    <a:pt x="20801" y="5408"/>
                    <a:pt x="16923" y="5408"/>
                  </a:quadBezTo>
                  <a:quadBezTo>
                    <a:pt x="13087" y="5408"/>
                    <a:pt x="10527" y="7826"/>
                  </a:quadBezTo>
                  <a:quadBezTo>
                    <a:pt x="7968" y="10238"/>
                    <a:pt x="7235" y="15061"/>
                  </a:quadBezTo>
                  <a:lnTo>
                    <a:pt x="656" y="13891"/>
                  </a:lnTo>
                  <a:quadBezTo>
                    <a:pt x="1862" y="7276"/>
                    <a:pt x="6135" y="3641"/>
                  </a:quadBezTo>
                  <a:quadBezTo>
                    <a:pt x="10415" y="0"/>
                    <a:pt x="16775" y="0"/>
                  </a:quadBezTo>
                  <a:quadBezTo>
                    <a:pt x="21168" y="0"/>
                    <a:pt x="24856" y="1885"/>
                  </a:quadBezTo>
                  <a:quadBezTo>
                    <a:pt x="28551" y="3765"/>
                    <a:pt x="30507" y="7022"/>
                  </a:quadBezTo>
                  <a:quadBezTo>
                    <a:pt x="32464" y="10273"/>
                    <a:pt x="32464" y="13932"/>
                  </a:quadBezTo>
                  <a:quadBezTo>
                    <a:pt x="32464" y="17402"/>
                    <a:pt x="30596" y="20257"/>
                  </a:quadBezTo>
                  <a:quadBezTo>
                    <a:pt x="28734" y="23106"/>
                    <a:pt x="25075" y="24791"/>
                  </a:quadBezTo>
                  <a:quadBezTo>
                    <a:pt x="29827" y="25885"/>
                    <a:pt x="32458" y="29343"/>
                  </a:quadBezTo>
                  <a:quadBezTo>
                    <a:pt x="35094" y="32795"/>
                    <a:pt x="35094" y="37985"/>
                  </a:quadBezTo>
                  <a:quadBezTo>
                    <a:pt x="35094" y="45007"/>
                    <a:pt x="29975" y="49890"/>
                  </a:quadBezTo>
                  <a:quadBezTo>
                    <a:pt x="24856" y="54767"/>
                    <a:pt x="17036" y="54767"/>
                  </a:quadBezTo>
                  <a:quadBezTo>
                    <a:pt x="9978" y="54767"/>
                    <a:pt x="5314" y="50564"/>
                  </a:quadBezTo>
                  <a:quadBezTo>
                    <a:pt x="656" y="46361"/>
                    <a:pt x="-5" y="39670"/>
                  </a:quad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115" name="AtomLabel26">
              <a:extLst>
                <a:ext uri="{FF2B5EF4-FFF2-40B4-BE49-F238E27FC236}">
                  <a16:creationId xmlns:a16="http://schemas.microsoft.com/office/drawing/2014/main" id="{28A01ED6-49AC-4468-BF80-333468BF7F2B}"/>
                </a:ext>
              </a:extLst>
            </p:cNvPr>
            <p:cNvSpPr/>
            <p:nvPr/>
          </p:nvSpPr>
          <p:spPr>
            <a:xfrm>
              <a:off x="2920047" y="269788"/>
              <a:ext cx="78971" cy="92322"/>
            </a:xfrm>
            <a:custGeom>
              <a:avLst/>
              <a:gdLst/>
              <a:ahLst/>
              <a:cxnLst/>
              <a:rect l="l" t="t" r="r" b="b"/>
              <a:pathLst>
                <a:path w="78973" h="92382">
                  <a:moveTo>
                    <a:pt x="67141" y="59535"/>
                  </a:moveTo>
                  <a:lnTo>
                    <a:pt x="78963" y="62520"/>
                  </a:lnTo>
                  <a:quadBezTo>
                    <a:pt x="75249" y="77091"/>
                    <a:pt x="65584" y="84737"/>
                  </a:quadBezTo>
                  <a:quadBezTo>
                    <a:pt x="55929" y="92382"/>
                    <a:pt x="41979" y="92382"/>
                  </a:quadBezTo>
                  <a:quadBezTo>
                    <a:pt x="27536" y="92382"/>
                    <a:pt x="18482" y="86500"/>
                  </a:quadBezTo>
                  <a:quadBezTo>
                    <a:pt x="9438" y="80618"/>
                    <a:pt x="4709" y="69476"/>
                  </a:quadBezTo>
                  <a:quadBezTo>
                    <a:pt x="-9" y="58323"/>
                    <a:pt x="-9" y="45526"/>
                  </a:quadBezTo>
                  <a:quadBezTo>
                    <a:pt x="-9" y="31565"/>
                    <a:pt x="5320" y="21181"/>
                  </a:quadBezTo>
                  <a:quadBezTo>
                    <a:pt x="10659" y="10787"/>
                    <a:pt x="20502" y="5398"/>
                  </a:quadBezTo>
                  <a:quadBezTo>
                    <a:pt x="30344" y="9"/>
                    <a:pt x="42156" y="9"/>
                  </a:quadBezTo>
                  <a:quadBezTo>
                    <a:pt x="55565" y="9"/>
                    <a:pt x="64707" y="6837"/>
                  </a:quadBezTo>
                  <a:quadBezTo>
                    <a:pt x="73850" y="13654"/>
                    <a:pt x="77446" y="26028"/>
                  </a:quadBezTo>
                  <a:lnTo>
                    <a:pt x="65801" y="28767"/>
                  </a:lnTo>
                  <a:quadBezTo>
                    <a:pt x="62698" y="19014"/>
                    <a:pt x="56786" y="14571"/>
                  </a:quadBezTo>
                  <a:quadBezTo>
                    <a:pt x="50875" y="10118"/>
                    <a:pt x="41920" y="10118"/>
                  </a:quadBezTo>
                  <a:quadBezTo>
                    <a:pt x="31615" y="10118"/>
                    <a:pt x="24698" y="15053"/>
                  </a:quadBezTo>
                  <a:quadBezTo>
                    <a:pt x="17782" y="19989"/>
                    <a:pt x="14975" y="28314"/>
                  </a:quadBezTo>
                  <a:quadBezTo>
                    <a:pt x="12177" y="36629"/>
                    <a:pt x="12177" y="45466"/>
                  </a:quadBezTo>
                  <a:quadBezTo>
                    <a:pt x="12177" y="56855"/>
                    <a:pt x="15497" y="65358"/>
                  </a:quadBezTo>
                  <a:quadBezTo>
                    <a:pt x="18827" y="73860"/>
                    <a:pt x="25831" y="78067"/>
                  </a:quadBezTo>
                  <a:quadBezTo>
                    <a:pt x="32836" y="82264"/>
                    <a:pt x="41004" y="82264"/>
                  </a:quadBezTo>
                  <a:quadBezTo>
                    <a:pt x="50934" y="82264"/>
                    <a:pt x="57821" y="76540"/>
                  </a:quadBezTo>
                  <a:quadBezTo>
                    <a:pt x="64707" y="70816"/>
                    <a:pt x="67141" y="59535"/>
                  </a:quad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116" name="AtomLabel27">
              <a:extLst>
                <a:ext uri="{FF2B5EF4-FFF2-40B4-BE49-F238E27FC236}">
                  <a16:creationId xmlns:a16="http://schemas.microsoft.com/office/drawing/2014/main" id="{038E7F29-13A8-44A7-A629-725FF2FC7D11}"/>
                </a:ext>
              </a:extLst>
            </p:cNvPr>
            <p:cNvSpPr/>
            <p:nvPr/>
          </p:nvSpPr>
          <p:spPr>
            <a:xfrm>
              <a:off x="2784861" y="271314"/>
              <a:ext cx="70075" cy="89270"/>
            </a:xfrm>
            <a:custGeom>
              <a:avLst/>
              <a:gdLst/>
              <a:ahLst/>
              <a:cxnLst/>
              <a:rect l="l" t="t" r="r" b="b"/>
              <a:pathLst>
                <a:path w="70077" h="89328">
                  <a:moveTo>
                    <a:pt x="0" y="89328"/>
                  </a:moveTo>
                  <a:lnTo>
                    <a:pt x="0" y="0"/>
                  </a:lnTo>
                  <a:lnTo>
                    <a:pt x="11822" y="0"/>
                  </a:lnTo>
                  <a:lnTo>
                    <a:pt x="11822" y="36688"/>
                  </a:lnTo>
                  <a:lnTo>
                    <a:pt x="58254" y="36688"/>
                  </a:lnTo>
                  <a:lnTo>
                    <a:pt x="58254" y="0"/>
                  </a:lnTo>
                  <a:lnTo>
                    <a:pt x="70077" y="0"/>
                  </a:lnTo>
                  <a:lnTo>
                    <a:pt x="70077" y="89328"/>
                  </a:lnTo>
                  <a:lnTo>
                    <a:pt x="58254" y="89328"/>
                  </a:lnTo>
                  <a:lnTo>
                    <a:pt x="58254" y="47230"/>
                  </a:lnTo>
                  <a:lnTo>
                    <a:pt x="11822" y="47230"/>
                  </a:lnTo>
                  <a:lnTo>
                    <a:pt x="11822" y="8932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117" name="AtomLabel28">
              <a:extLst>
                <a:ext uri="{FF2B5EF4-FFF2-40B4-BE49-F238E27FC236}">
                  <a16:creationId xmlns:a16="http://schemas.microsoft.com/office/drawing/2014/main" id="{B2DDC930-0797-47FD-8568-60C8B945BA3C}"/>
                </a:ext>
              </a:extLst>
            </p:cNvPr>
            <p:cNvSpPr/>
            <p:nvPr/>
          </p:nvSpPr>
          <p:spPr>
            <a:xfrm>
              <a:off x="2874985" y="323473"/>
              <a:ext cx="35099" cy="54731"/>
            </a:xfrm>
            <a:custGeom>
              <a:avLst/>
              <a:gdLst/>
              <a:ahLst/>
              <a:cxnLst/>
              <a:rect l="l" t="t" r="r" b="b"/>
              <a:pathLst>
                <a:path w="35100" h="54767">
                  <a:moveTo>
                    <a:pt x="-5" y="39670"/>
                  </a:moveTo>
                  <a:lnTo>
                    <a:pt x="6579" y="38789"/>
                  </a:lnTo>
                  <a:quadBezTo>
                    <a:pt x="7708" y="44387"/>
                    <a:pt x="10433" y="46858"/>
                  </a:quadBezTo>
                  <a:quadBezTo>
                    <a:pt x="13158" y="49323"/>
                    <a:pt x="17071" y="49323"/>
                  </a:quadBezTo>
                  <a:quadBezTo>
                    <a:pt x="21711" y="49323"/>
                    <a:pt x="24909" y="46107"/>
                  </a:quadBezTo>
                  <a:quadBezTo>
                    <a:pt x="28113" y="42885"/>
                    <a:pt x="28113" y="38133"/>
                  </a:quadBezTo>
                  <a:quadBezTo>
                    <a:pt x="28113" y="33599"/>
                    <a:pt x="25152" y="30655"/>
                  </a:quadBezTo>
                  <a:quadBezTo>
                    <a:pt x="22190" y="27711"/>
                    <a:pt x="17621" y="27711"/>
                  </a:quadBezTo>
                  <a:quadBezTo>
                    <a:pt x="15753" y="27711"/>
                    <a:pt x="12975" y="28444"/>
                  </a:quadBezTo>
                  <a:lnTo>
                    <a:pt x="13708" y="22669"/>
                  </a:lnTo>
                  <a:quadBezTo>
                    <a:pt x="14364" y="22740"/>
                    <a:pt x="14766" y="22740"/>
                  </a:quadBezTo>
                  <a:quadBezTo>
                    <a:pt x="18969" y="22740"/>
                    <a:pt x="22332" y="20547"/>
                  </a:quadBezTo>
                  <a:quadBezTo>
                    <a:pt x="25701" y="18354"/>
                    <a:pt x="25701" y="13784"/>
                  </a:quadBezTo>
                  <a:quadBezTo>
                    <a:pt x="25701" y="10167"/>
                    <a:pt x="23248" y="7790"/>
                  </a:quadBezTo>
                  <a:quadBezTo>
                    <a:pt x="20801" y="5408"/>
                    <a:pt x="16923" y="5408"/>
                  </a:quadBezTo>
                  <a:quadBezTo>
                    <a:pt x="13087" y="5408"/>
                    <a:pt x="10527" y="7826"/>
                  </a:quadBezTo>
                  <a:quadBezTo>
                    <a:pt x="7968" y="10238"/>
                    <a:pt x="7235" y="15061"/>
                  </a:quadBezTo>
                  <a:lnTo>
                    <a:pt x="656" y="13891"/>
                  </a:lnTo>
                  <a:quadBezTo>
                    <a:pt x="1862" y="7276"/>
                    <a:pt x="6135" y="3641"/>
                  </a:quadBezTo>
                  <a:quadBezTo>
                    <a:pt x="10415" y="0"/>
                    <a:pt x="16775" y="0"/>
                  </a:quadBezTo>
                  <a:quadBezTo>
                    <a:pt x="21168" y="0"/>
                    <a:pt x="24856" y="1885"/>
                  </a:quadBezTo>
                  <a:quadBezTo>
                    <a:pt x="28551" y="3765"/>
                    <a:pt x="30507" y="7022"/>
                  </a:quadBezTo>
                  <a:quadBezTo>
                    <a:pt x="32464" y="10273"/>
                    <a:pt x="32464" y="13932"/>
                  </a:quadBezTo>
                  <a:quadBezTo>
                    <a:pt x="32464" y="17402"/>
                    <a:pt x="30596" y="20257"/>
                  </a:quadBezTo>
                  <a:quadBezTo>
                    <a:pt x="28734" y="23106"/>
                    <a:pt x="25075" y="24791"/>
                  </a:quadBezTo>
                  <a:quadBezTo>
                    <a:pt x="29827" y="25885"/>
                    <a:pt x="32458" y="29343"/>
                  </a:quadBezTo>
                  <a:quadBezTo>
                    <a:pt x="35094" y="32795"/>
                    <a:pt x="35094" y="37985"/>
                  </a:quadBezTo>
                  <a:quadBezTo>
                    <a:pt x="35094" y="45007"/>
                    <a:pt x="29975" y="49890"/>
                  </a:quadBezTo>
                  <a:quadBezTo>
                    <a:pt x="24856" y="54767"/>
                    <a:pt x="17036" y="54767"/>
                  </a:quadBezTo>
                  <a:quadBezTo>
                    <a:pt x="9978" y="54767"/>
                    <a:pt x="5314" y="50564"/>
                  </a:quadBezTo>
                  <a:quadBezTo>
                    <a:pt x="656" y="46361"/>
                    <a:pt x="-5" y="39670"/>
                  </a:quad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118" name="BondLine41">
              <a:extLst>
                <a:ext uri="{FF2B5EF4-FFF2-40B4-BE49-F238E27FC236}">
                  <a16:creationId xmlns:a16="http://schemas.microsoft.com/office/drawing/2014/main" id="{8BF71A0B-7739-49F3-BACC-027E239E3572}"/>
                </a:ext>
              </a:extLst>
            </p:cNvPr>
            <p:cNvSpPr/>
            <p:nvPr/>
          </p:nvSpPr>
          <p:spPr>
            <a:xfrm>
              <a:off x="5598192" y="705138"/>
              <a:ext cx="90949" cy="52476"/>
            </a:xfrm>
            <a:custGeom>
              <a:avLst/>
              <a:gdLst/>
              <a:ahLst/>
              <a:cxnLst/>
              <a:rect l="l" t="t" r="r" b="b"/>
              <a:pathLst>
                <a:path w="90951" h="52510">
                  <a:moveTo>
                    <a:pt x="90951" y="52510"/>
                  </a:moveTo>
                  <a:lnTo>
                    <a:pt x="0" y="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119" name="BondLine42">
              <a:extLst>
                <a:ext uri="{FF2B5EF4-FFF2-40B4-BE49-F238E27FC236}">
                  <a16:creationId xmlns:a16="http://schemas.microsoft.com/office/drawing/2014/main" id="{167D5B98-E6AD-46B8-A72A-FAB5BE4BAF9C}"/>
                </a:ext>
              </a:extLst>
            </p:cNvPr>
            <p:cNvSpPr/>
            <p:nvPr/>
          </p:nvSpPr>
          <p:spPr>
            <a:xfrm>
              <a:off x="5469244" y="705138"/>
              <a:ext cx="90949" cy="52476"/>
            </a:xfrm>
            <a:custGeom>
              <a:avLst/>
              <a:gdLst/>
              <a:ahLst/>
              <a:cxnLst/>
              <a:rect l="l" t="t" r="r" b="b"/>
              <a:pathLst>
                <a:path w="90951" h="52510">
                  <a:moveTo>
                    <a:pt x="90951" y="0"/>
                  </a:moveTo>
                  <a:lnTo>
                    <a:pt x="0" y="5251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120" name="BondLine43">
              <a:extLst>
                <a:ext uri="{FF2B5EF4-FFF2-40B4-BE49-F238E27FC236}">
                  <a16:creationId xmlns:a16="http://schemas.microsoft.com/office/drawing/2014/main" id="{0B845439-85D7-4530-B005-5D24D2F50ADA}"/>
                </a:ext>
              </a:extLst>
            </p:cNvPr>
            <p:cNvSpPr/>
            <p:nvPr/>
          </p:nvSpPr>
          <p:spPr>
            <a:xfrm>
              <a:off x="5598192" y="563883"/>
              <a:ext cx="0" cy="141255"/>
            </a:xfrm>
            <a:custGeom>
              <a:avLst/>
              <a:gdLst/>
              <a:ahLst/>
              <a:cxnLst/>
              <a:rect l="l" t="t" r="r" b="b"/>
              <a:pathLst>
                <a:path h="141347">
                  <a:moveTo>
                    <a:pt x="0" y="141347"/>
                  </a:moveTo>
                  <a:lnTo>
                    <a:pt x="0" y="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121" name="BondLine44">
              <a:extLst>
                <a:ext uri="{FF2B5EF4-FFF2-40B4-BE49-F238E27FC236}">
                  <a16:creationId xmlns:a16="http://schemas.microsoft.com/office/drawing/2014/main" id="{D6C5DDD0-AC59-429A-95E7-014416F9EEA7}"/>
                </a:ext>
              </a:extLst>
            </p:cNvPr>
            <p:cNvSpPr/>
            <p:nvPr/>
          </p:nvSpPr>
          <p:spPr>
            <a:xfrm>
              <a:off x="5560193" y="563883"/>
              <a:ext cx="0" cy="141254"/>
            </a:xfrm>
            <a:custGeom>
              <a:avLst/>
              <a:gdLst/>
              <a:ahLst/>
              <a:cxnLst/>
              <a:rect l="l" t="t" r="r" b="b"/>
              <a:pathLst>
                <a:path h="141346">
                  <a:moveTo>
                    <a:pt x="0" y="141346"/>
                  </a:moveTo>
                  <a:lnTo>
                    <a:pt x="0" y="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122" name="BondLine45">
              <a:extLst>
                <a:ext uri="{FF2B5EF4-FFF2-40B4-BE49-F238E27FC236}">
                  <a16:creationId xmlns:a16="http://schemas.microsoft.com/office/drawing/2014/main" id="{7C09E59F-3187-4E75-805E-902DAC269705}"/>
                </a:ext>
              </a:extLst>
            </p:cNvPr>
            <p:cNvSpPr/>
            <p:nvPr/>
          </p:nvSpPr>
          <p:spPr>
            <a:xfrm>
              <a:off x="5250111" y="694176"/>
              <a:ext cx="109948" cy="63439"/>
            </a:xfrm>
            <a:custGeom>
              <a:avLst/>
              <a:gdLst/>
              <a:ahLst/>
              <a:cxnLst/>
              <a:rect l="l" t="t" r="r" b="b"/>
              <a:pathLst>
                <a:path w="109951" h="63480">
                  <a:moveTo>
                    <a:pt x="109951" y="63480"/>
                  </a:moveTo>
                  <a:lnTo>
                    <a:pt x="0" y="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123" name="BondLine46">
              <a:extLst>
                <a:ext uri="{FF2B5EF4-FFF2-40B4-BE49-F238E27FC236}">
                  <a16:creationId xmlns:a16="http://schemas.microsoft.com/office/drawing/2014/main" id="{452D55CA-CDC0-437F-9953-56E51699A6A7}"/>
                </a:ext>
              </a:extLst>
            </p:cNvPr>
            <p:cNvSpPr/>
            <p:nvPr/>
          </p:nvSpPr>
          <p:spPr>
            <a:xfrm>
              <a:off x="5085571" y="694176"/>
              <a:ext cx="164540" cy="94938"/>
            </a:xfrm>
            <a:custGeom>
              <a:avLst/>
              <a:gdLst/>
              <a:ahLst/>
              <a:cxnLst/>
              <a:rect l="l" t="t" r="r" b="b"/>
              <a:pathLst>
                <a:path w="164544" h="95000">
                  <a:moveTo>
                    <a:pt x="164544" y="0"/>
                  </a:moveTo>
                  <a:lnTo>
                    <a:pt x="0" y="9500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124" name="BondLine47">
              <a:extLst>
                <a:ext uri="{FF2B5EF4-FFF2-40B4-BE49-F238E27FC236}">
                  <a16:creationId xmlns:a16="http://schemas.microsoft.com/office/drawing/2014/main" id="{A0B132A3-0F7A-4B86-8D56-CA5D5E361736}"/>
                </a:ext>
              </a:extLst>
            </p:cNvPr>
            <p:cNvSpPr/>
            <p:nvPr/>
          </p:nvSpPr>
          <p:spPr>
            <a:xfrm>
              <a:off x="5250111" y="504299"/>
              <a:ext cx="0" cy="189877"/>
            </a:xfrm>
            <a:custGeom>
              <a:avLst/>
              <a:gdLst/>
              <a:ahLst/>
              <a:cxnLst/>
              <a:rect l="l" t="t" r="r" b="b"/>
              <a:pathLst>
                <a:path h="190000">
                  <a:moveTo>
                    <a:pt x="0" y="0"/>
                  </a:moveTo>
                  <a:lnTo>
                    <a:pt x="0" y="19000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125" name="BondLine48">
              <a:extLst>
                <a:ext uri="{FF2B5EF4-FFF2-40B4-BE49-F238E27FC236}">
                  <a16:creationId xmlns:a16="http://schemas.microsoft.com/office/drawing/2014/main" id="{96AA3269-C7AA-40F5-B4AC-7083034D5D41}"/>
                </a:ext>
              </a:extLst>
            </p:cNvPr>
            <p:cNvSpPr/>
            <p:nvPr/>
          </p:nvSpPr>
          <p:spPr>
            <a:xfrm>
              <a:off x="5212112" y="526224"/>
              <a:ext cx="0" cy="146026"/>
            </a:xfrm>
            <a:custGeom>
              <a:avLst/>
              <a:gdLst/>
              <a:ahLst/>
              <a:cxnLst/>
              <a:rect l="l" t="t" r="r" b="b"/>
              <a:pathLst>
                <a:path h="146121">
                  <a:moveTo>
                    <a:pt x="0" y="0"/>
                  </a:moveTo>
                  <a:lnTo>
                    <a:pt x="0" y="146121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126" name="BondLine49">
              <a:extLst>
                <a:ext uri="{FF2B5EF4-FFF2-40B4-BE49-F238E27FC236}">
                  <a16:creationId xmlns:a16="http://schemas.microsoft.com/office/drawing/2014/main" id="{33B56015-BC33-4D5F-BF24-BAA6A60E127F}"/>
                </a:ext>
              </a:extLst>
            </p:cNvPr>
            <p:cNvSpPr/>
            <p:nvPr/>
          </p:nvSpPr>
          <p:spPr>
            <a:xfrm>
              <a:off x="4921031" y="694176"/>
              <a:ext cx="164540" cy="94938"/>
            </a:xfrm>
            <a:custGeom>
              <a:avLst/>
              <a:gdLst/>
              <a:ahLst/>
              <a:cxnLst/>
              <a:rect l="l" t="t" r="r" b="b"/>
              <a:pathLst>
                <a:path w="164544" h="95000">
                  <a:moveTo>
                    <a:pt x="164544" y="95000"/>
                  </a:moveTo>
                  <a:lnTo>
                    <a:pt x="0" y="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127" name="BondLine50">
              <a:extLst>
                <a:ext uri="{FF2B5EF4-FFF2-40B4-BE49-F238E27FC236}">
                  <a16:creationId xmlns:a16="http://schemas.microsoft.com/office/drawing/2014/main" id="{66BD6DBF-5CB7-4F66-81BF-2C8251C1EB39}"/>
                </a:ext>
              </a:extLst>
            </p:cNvPr>
            <p:cNvSpPr/>
            <p:nvPr/>
          </p:nvSpPr>
          <p:spPr>
            <a:xfrm>
              <a:off x="4959030" y="672251"/>
              <a:ext cx="126541" cy="73013"/>
            </a:xfrm>
            <a:custGeom>
              <a:avLst/>
              <a:gdLst/>
              <a:ahLst/>
              <a:cxnLst/>
              <a:rect l="l" t="t" r="r" b="b"/>
              <a:pathLst>
                <a:path w="126544" h="73060">
                  <a:moveTo>
                    <a:pt x="126544" y="73060"/>
                  </a:moveTo>
                  <a:lnTo>
                    <a:pt x="0" y="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128" name="BondLine51">
              <a:extLst>
                <a:ext uri="{FF2B5EF4-FFF2-40B4-BE49-F238E27FC236}">
                  <a16:creationId xmlns:a16="http://schemas.microsoft.com/office/drawing/2014/main" id="{CAF91DC9-FE20-4DA2-B7EB-B222CE3B7292}"/>
                </a:ext>
              </a:extLst>
            </p:cNvPr>
            <p:cNvSpPr/>
            <p:nvPr/>
          </p:nvSpPr>
          <p:spPr>
            <a:xfrm>
              <a:off x="4921031" y="504299"/>
              <a:ext cx="0" cy="189877"/>
            </a:xfrm>
            <a:custGeom>
              <a:avLst/>
              <a:gdLst/>
              <a:ahLst/>
              <a:cxnLst/>
              <a:rect l="l" t="t" r="r" b="b"/>
              <a:pathLst>
                <a:path h="190000">
                  <a:moveTo>
                    <a:pt x="0" y="190000"/>
                  </a:moveTo>
                  <a:lnTo>
                    <a:pt x="0" y="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129" name="BondLine52">
              <a:extLst>
                <a:ext uri="{FF2B5EF4-FFF2-40B4-BE49-F238E27FC236}">
                  <a16:creationId xmlns:a16="http://schemas.microsoft.com/office/drawing/2014/main" id="{D883812A-A517-49A0-BCF2-45DB99F241C4}"/>
                </a:ext>
              </a:extLst>
            </p:cNvPr>
            <p:cNvSpPr/>
            <p:nvPr/>
          </p:nvSpPr>
          <p:spPr>
            <a:xfrm>
              <a:off x="4921031" y="409361"/>
              <a:ext cx="164540" cy="94938"/>
            </a:xfrm>
            <a:custGeom>
              <a:avLst/>
              <a:gdLst/>
              <a:ahLst/>
              <a:cxnLst/>
              <a:rect l="l" t="t" r="r" b="b"/>
              <a:pathLst>
                <a:path w="164544" h="95000">
                  <a:moveTo>
                    <a:pt x="0" y="95000"/>
                  </a:moveTo>
                  <a:lnTo>
                    <a:pt x="164544" y="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130" name="BondLine53">
              <a:extLst>
                <a:ext uri="{FF2B5EF4-FFF2-40B4-BE49-F238E27FC236}">
                  <a16:creationId xmlns:a16="http://schemas.microsoft.com/office/drawing/2014/main" id="{977A687E-FBA3-4051-AF7B-A33F8FE20FB8}"/>
                </a:ext>
              </a:extLst>
            </p:cNvPr>
            <p:cNvSpPr/>
            <p:nvPr/>
          </p:nvSpPr>
          <p:spPr>
            <a:xfrm>
              <a:off x="4959029" y="453211"/>
              <a:ext cx="126541" cy="73013"/>
            </a:xfrm>
            <a:custGeom>
              <a:avLst/>
              <a:gdLst/>
              <a:ahLst/>
              <a:cxnLst/>
              <a:rect l="l" t="t" r="r" b="b"/>
              <a:pathLst>
                <a:path w="126544" h="73060">
                  <a:moveTo>
                    <a:pt x="0" y="73060"/>
                  </a:moveTo>
                  <a:lnTo>
                    <a:pt x="126544" y="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131" name="BondLine54">
              <a:extLst>
                <a:ext uri="{FF2B5EF4-FFF2-40B4-BE49-F238E27FC236}">
                  <a16:creationId xmlns:a16="http://schemas.microsoft.com/office/drawing/2014/main" id="{99B0842F-ECA4-4CC0-83F2-106DFA0CA41D}"/>
                </a:ext>
              </a:extLst>
            </p:cNvPr>
            <p:cNvSpPr/>
            <p:nvPr/>
          </p:nvSpPr>
          <p:spPr>
            <a:xfrm>
              <a:off x="5085571" y="409361"/>
              <a:ext cx="164540" cy="94938"/>
            </a:xfrm>
            <a:custGeom>
              <a:avLst/>
              <a:gdLst/>
              <a:ahLst/>
              <a:cxnLst/>
              <a:rect l="l" t="t" r="r" b="b"/>
              <a:pathLst>
                <a:path w="164544" h="95000">
                  <a:moveTo>
                    <a:pt x="0" y="0"/>
                  </a:moveTo>
                  <a:lnTo>
                    <a:pt x="164544" y="9500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133" name="AtomLabel5">
              <a:extLst>
                <a:ext uri="{FF2B5EF4-FFF2-40B4-BE49-F238E27FC236}">
                  <a16:creationId xmlns:a16="http://schemas.microsoft.com/office/drawing/2014/main" id="{B6E11C1D-3EEC-4233-9E44-33A10593999E}"/>
                </a:ext>
              </a:extLst>
            </p:cNvPr>
            <p:cNvSpPr/>
            <p:nvPr/>
          </p:nvSpPr>
          <p:spPr>
            <a:xfrm>
              <a:off x="5371934" y="744450"/>
              <a:ext cx="85434" cy="92381"/>
            </a:xfrm>
            <a:custGeom>
              <a:avLst/>
              <a:gdLst/>
              <a:ahLst/>
              <a:cxnLst/>
              <a:rect l="l" t="t" r="r" b="b"/>
              <a:pathLst>
                <a:path w="85436" h="92441">
                  <a:moveTo>
                    <a:pt x="0" y="47407"/>
                  </a:moveTo>
                  <a:quadBezTo>
                    <a:pt x="0" y="25171"/>
                    <a:pt x="11940" y="12590"/>
                  </a:quadBezTo>
                  <a:quadBezTo>
                    <a:pt x="23881" y="0"/>
                    <a:pt x="42777" y="0"/>
                  </a:quadBezTo>
                  <a:quadBezTo>
                    <a:pt x="55141" y="0"/>
                    <a:pt x="65072" y="5911"/>
                  </a:quadBezTo>
                  <a:quadBezTo>
                    <a:pt x="75013" y="11822"/>
                    <a:pt x="80214" y="22403"/>
                  </a:quadBezTo>
                  <a:quadBezTo>
                    <a:pt x="85426" y="32974"/>
                    <a:pt x="85426" y="46373"/>
                  </a:quadBezTo>
                  <a:quadBezTo>
                    <a:pt x="85426" y="59959"/>
                    <a:pt x="79939" y="70688"/>
                  </a:quadBezTo>
                  <a:quadBezTo>
                    <a:pt x="74461" y="81416"/>
                    <a:pt x="64402" y="86934"/>
                  </a:quadBezTo>
                  <a:quadBezTo>
                    <a:pt x="54353" y="92441"/>
                    <a:pt x="42718" y="92441"/>
                  </a:quadBezTo>
                  <a:quadBezTo>
                    <a:pt x="30097" y="92441"/>
                    <a:pt x="20167" y="86352"/>
                  </a:quadBezTo>
                  <a:quadBezTo>
                    <a:pt x="10236" y="80254"/>
                    <a:pt x="5113" y="69712"/>
                  </a:quadBezTo>
                  <a:quadBezTo>
                    <a:pt x="0" y="59171"/>
                    <a:pt x="0" y="47407"/>
                  </a:quadBezTo>
                  <a:close/>
                  <a:moveTo>
                    <a:pt x="12186" y="47595"/>
                  </a:moveTo>
                  <a:quadBezTo>
                    <a:pt x="12186" y="63742"/>
                    <a:pt x="20866" y="73032"/>
                  </a:quadBezTo>
                  <a:quadBezTo>
                    <a:pt x="29556" y="82323"/>
                    <a:pt x="42649" y="82323"/>
                  </a:quadBezTo>
                  <a:quadBezTo>
                    <a:pt x="55998" y="82323"/>
                    <a:pt x="64619" y="72944"/>
                  </a:quadBezTo>
                  <a:quadBezTo>
                    <a:pt x="73239" y="63555"/>
                    <a:pt x="73239" y="46314"/>
                  </a:quadBezTo>
                  <a:quadBezTo>
                    <a:pt x="73239" y="35408"/>
                    <a:pt x="69555" y="27270"/>
                  </a:quadBezTo>
                  <a:quadBezTo>
                    <a:pt x="65870" y="19132"/>
                    <a:pt x="58767" y="14659"/>
                  </a:quadBezTo>
                  <a:quadBezTo>
                    <a:pt x="51673" y="10177"/>
                    <a:pt x="42836" y="10177"/>
                  </a:quadBezTo>
                  <a:quadBezTo>
                    <a:pt x="30285" y="10177"/>
                    <a:pt x="21231" y="18807"/>
                  </a:quadBezTo>
                  <a:quadBezTo>
                    <a:pt x="12186" y="27427"/>
                    <a:pt x="12186" y="47595"/>
                  </a:quad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134" name="AtomLabel6">
              <a:extLst>
                <a:ext uri="{FF2B5EF4-FFF2-40B4-BE49-F238E27FC236}">
                  <a16:creationId xmlns:a16="http://schemas.microsoft.com/office/drawing/2014/main" id="{C2F90CFF-57FB-4478-A479-890A9E13D9A5}"/>
                </a:ext>
              </a:extLst>
            </p:cNvPr>
            <p:cNvSpPr/>
            <p:nvPr/>
          </p:nvSpPr>
          <p:spPr>
            <a:xfrm>
              <a:off x="5536475" y="459634"/>
              <a:ext cx="85434" cy="92381"/>
            </a:xfrm>
            <a:custGeom>
              <a:avLst/>
              <a:gdLst/>
              <a:ahLst/>
              <a:cxnLst/>
              <a:rect l="l" t="t" r="r" b="b"/>
              <a:pathLst>
                <a:path w="85436" h="92441">
                  <a:moveTo>
                    <a:pt x="0" y="47407"/>
                  </a:moveTo>
                  <a:quadBezTo>
                    <a:pt x="0" y="25171"/>
                    <a:pt x="11940" y="12590"/>
                  </a:quadBezTo>
                  <a:quadBezTo>
                    <a:pt x="23881" y="0"/>
                    <a:pt x="42777" y="0"/>
                  </a:quadBezTo>
                  <a:quadBezTo>
                    <a:pt x="55141" y="0"/>
                    <a:pt x="65072" y="5911"/>
                  </a:quadBezTo>
                  <a:quadBezTo>
                    <a:pt x="75013" y="11822"/>
                    <a:pt x="80214" y="22403"/>
                  </a:quadBezTo>
                  <a:quadBezTo>
                    <a:pt x="85426" y="32974"/>
                    <a:pt x="85426" y="46373"/>
                  </a:quadBezTo>
                  <a:quadBezTo>
                    <a:pt x="85426" y="59959"/>
                    <a:pt x="79939" y="70688"/>
                  </a:quadBezTo>
                  <a:quadBezTo>
                    <a:pt x="74461" y="81416"/>
                    <a:pt x="64402" y="86934"/>
                  </a:quadBezTo>
                  <a:quadBezTo>
                    <a:pt x="54353" y="92441"/>
                    <a:pt x="42718" y="92441"/>
                  </a:quadBezTo>
                  <a:quadBezTo>
                    <a:pt x="30097" y="92441"/>
                    <a:pt x="20167" y="86352"/>
                  </a:quadBezTo>
                  <a:quadBezTo>
                    <a:pt x="10236" y="80254"/>
                    <a:pt x="5113" y="69712"/>
                  </a:quadBezTo>
                  <a:quadBezTo>
                    <a:pt x="0" y="59171"/>
                    <a:pt x="0" y="47407"/>
                  </a:quadBezTo>
                  <a:close/>
                  <a:moveTo>
                    <a:pt x="12186" y="47595"/>
                  </a:moveTo>
                  <a:quadBezTo>
                    <a:pt x="12186" y="63742"/>
                    <a:pt x="20866" y="73032"/>
                  </a:quadBezTo>
                  <a:quadBezTo>
                    <a:pt x="29556" y="82323"/>
                    <a:pt x="42649" y="82323"/>
                  </a:quadBezTo>
                  <a:quadBezTo>
                    <a:pt x="55998" y="82323"/>
                    <a:pt x="64619" y="72944"/>
                  </a:quadBezTo>
                  <a:quadBezTo>
                    <a:pt x="73239" y="63555"/>
                    <a:pt x="73239" y="46314"/>
                  </a:quadBezTo>
                  <a:quadBezTo>
                    <a:pt x="73239" y="35408"/>
                    <a:pt x="69555" y="27270"/>
                  </a:quadBezTo>
                  <a:quadBezTo>
                    <a:pt x="65870" y="19132"/>
                    <a:pt x="58767" y="14659"/>
                  </a:quadBezTo>
                  <a:quadBezTo>
                    <a:pt x="51673" y="10177"/>
                    <a:pt x="42836" y="10177"/>
                  </a:quadBezTo>
                  <a:quadBezTo>
                    <a:pt x="30285" y="10177"/>
                    <a:pt x="21231" y="18807"/>
                  </a:quadBezTo>
                  <a:quadBezTo>
                    <a:pt x="12186" y="27427"/>
                    <a:pt x="12186" y="47595"/>
                  </a:quad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cxnSp>
          <p:nvCxnSpPr>
            <p:cNvPr id="135" name="Gerader Verbinder 134">
              <a:extLst>
                <a:ext uri="{FF2B5EF4-FFF2-40B4-BE49-F238E27FC236}">
                  <a16:creationId xmlns:a16="http://schemas.microsoft.com/office/drawing/2014/main" id="{1934AFDD-B9DA-438D-B734-BC14AB2E4E5E}"/>
                </a:ext>
              </a:extLst>
            </p:cNvPr>
            <p:cNvCxnSpPr>
              <a:cxnSpLocks/>
            </p:cNvCxnSpPr>
            <p:nvPr/>
          </p:nvCxnSpPr>
          <p:spPr>
            <a:xfrm>
              <a:off x="4763612" y="409361"/>
              <a:ext cx="152494" cy="94938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Gerader Verbinder 3">
              <a:extLst>
                <a:ext uri="{FF2B5EF4-FFF2-40B4-BE49-F238E27FC236}">
                  <a16:creationId xmlns:a16="http://schemas.microsoft.com/office/drawing/2014/main" id="{5C17A901-15DA-4359-AE62-E27D102FEDA0}"/>
                </a:ext>
              </a:extLst>
            </p:cNvPr>
            <p:cNvCxnSpPr/>
            <p:nvPr/>
          </p:nvCxnSpPr>
          <p:spPr>
            <a:xfrm>
              <a:off x="162344" y="79513"/>
              <a:ext cx="0" cy="974035"/>
            </a:xfrm>
            <a:prstGeom prst="line">
              <a:avLst/>
            </a:prstGeom>
            <a:ln>
              <a:solidFill>
                <a:srgbClr val="FFC000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Gerader Verbinder 135">
              <a:extLst>
                <a:ext uri="{FF2B5EF4-FFF2-40B4-BE49-F238E27FC236}">
                  <a16:creationId xmlns:a16="http://schemas.microsoft.com/office/drawing/2014/main" id="{54743BDF-0507-46DE-A89E-CF7048D6616A}"/>
                </a:ext>
              </a:extLst>
            </p:cNvPr>
            <p:cNvCxnSpPr/>
            <p:nvPr/>
          </p:nvCxnSpPr>
          <p:spPr>
            <a:xfrm>
              <a:off x="5689141" y="79513"/>
              <a:ext cx="0" cy="974035"/>
            </a:xfrm>
            <a:prstGeom prst="line">
              <a:avLst/>
            </a:prstGeom>
            <a:ln>
              <a:solidFill>
                <a:srgbClr val="FFC000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Gerader Verbinder 136">
              <a:extLst>
                <a:ext uri="{FF2B5EF4-FFF2-40B4-BE49-F238E27FC236}">
                  <a16:creationId xmlns:a16="http://schemas.microsoft.com/office/drawing/2014/main" id="{DEB34386-B259-420B-A506-3D7E373DA2A7}"/>
                </a:ext>
              </a:extLst>
            </p:cNvPr>
            <p:cNvCxnSpPr>
              <a:cxnSpLocks/>
            </p:cNvCxnSpPr>
            <p:nvPr/>
          </p:nvCxnSpPr>
          <p:spPr>
            <a:xfrm>
              <a:off x="162348" y="1053548"/>
              <a:ext cx="5526793" cy="0"/>
            </a:xfrm>
            <a:prstGeom prst="line">
              <a:avLst/>
            </a:prstGeom>
            <a:ln>
              <a:solidFill>
                <a:srgbClr val="FFC000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Gerader Verbinder 138">
              <a:extLst>
                <a:ext uri="{FF2B5EF4-FFF2-40B4-BE49-F238E27FC236}">
                  <a16:creationId xmlns:a16="http://schemas.microsoft.com/office/drawing/2014/main" id="{12093B49-61D9-4B1C-892F-00B46C4EE347}"/>
                </a:ext>
              </a:extLst>
            </p:cNvPr>
            <p:cNvCxnSpPr>
              <a:cxnSpLocks/>
            </p:cNvCxnSpPr>
            <p:nvPr/>
          </p:nvCxnSpPr>
          <p:spPr>
            <a:xfrm>
              <a:off x="162348" y="79513"/>
              <a:ext cx="5526793" cy="0"/>
            </a:xfrm>
            <a:prstGeom prst="line">
              <a:avLst/>
            </a:prstGeom>
            <a:ln>
              <a:solidFill>
                <a:srgbClr val="FFC000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84" name="Gruppieren 383">
            <a:extLst>
              <a:ext uri="{FF2B5EF4-FFF2-40B4-BE49-F238E27FC236}">
                <a16:creationId xmlns:a16="http://schemas.microsoft.com/office/drawing/2014/main" id="{94E4517E-587E-417D-B212-3577B7F0CDA9}"/>
              </a:ext>
            </a:extLst>
          </p:cNvPr>
          <p:cNvGrpSpPr/>
          <p:nvPr/>
        </p:nvGrpSpPr>
        <p:grpSpPr>
          <a:xfrm>
            <a:off x="4817569" y="421772"/>
            <a:ext cx="5939393" cy="1683945"/>
            <a:chOff x="4775725" y="1567515"/>
            <a:chExt cx="5939393" cy="1683945"/>
          </a:xfrm>
        </p:grpSpPr>
        <p:grpSp>
          <p:nvGrpSpPr>
            <p:cNvPr id="241" name="Gruppieren 240">
              <a:extLst>
                <a:ext uri="{FF2B5EF4-FFF2-40B4-BE49-F238E27FC236}">
                  <a16:creationId xmlns:a16="http://schemas.microsoft.com/office/drawing/2014/main" id="{B69A94BA-7AE2-439D-AE10-862C663499F2}"/>
                </a:ext>
              </a:extLst>
            </p:cNvPr>
            <p:cNvGrpSpPr/>
            <p:nvPr/>
          </p:nvGrpSpPr>
          <p:grpSpPr>
            <a:xfrm>
              <a:off x="4806682" y="1686797"/>
              <a:ext cx="5876953" cy="1420746"/>
              <a:chOff x="5032517" y="1289825"/>
              <a:chExt cx="5876952" cy="1420746"/>
            </a:xfrm>
          </p:grpSpPr>
          <p:cxnSp>
            <p:nvCxnSpPr>
              <p:cNvPr id="245" name="Gerader Verbinder 244">
                <a:extLst>
                  <a:ext uri="{FF2B5EF4-FFF2-40B4-BE49-F238E27FC236}">
                    <a16:creationId xmlns:a16="http://schemas.microsoft.com/office/drawing/2014/main" id="{6847847E-2A86-4362-9344-14611CCF963A}"/>
                  </a:ext>
                </a:extLst>
              </p:cNvPr>
              <p:cNvCxnSpPr/>
              <p:nvPr/>
            </p:nvCxnSpPr>
            <p:spPr>
              <a:xfrm>
                <a:off x="5032518" y="1468588"/>
                <a:ext cx="5693157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4" name="Gerader Verbinder 243">
                <a:extLst>
                  <a:ext uri="{FF2B5EF4-FFF2-40B4-BE49-F238E27FC236}">
                    <a16:creationId xmlns:a16="http://schemas.microsoft.com/office/drawing/2014/main" id="{740DE476-6BCB-45B5-B52A-259AE7C106A7}"/>
                  </a:ext>
                </a:extLst>
              </p:cNvPr>
              <p:cNvCxnSpPr/>
              <p:nvPr/>
            </p:nvCxnSpPr>
            <p:spPr>
              <a:xfrm>
                <a:off x="5032518" y="2193278"/>
                <a:ext cx="5690825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3" name="Gerader Verbinder 242">
                <a:extLst>
                  <a:ext uri="{FF2B5EF4-FFF2-40B4-BE49-F238E27FC236}">
                    <a16:creationId xmlns:a16="http://schemas.microsoft.com/office/drawing/2014/main" id="{DFAB2A4B-4F7E-4FDC-BC21-D81916198B11}"/>
                  </a:ext>
                </a:extLst>
              </p:cNvPr>
              <p:cNvCxnSpPr/>
              <p:nvPr/>
            </p:nvCxnSpPr>
            <p:spPr>
              <a:xfrm>
                <a:off x="5230939" y="1833862"/>
                <a:ext cx="5678529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2" name="Gerader Verbinder 221">
                <a:extLst>
                  <a:ext uri="{FF2B5EF4-FFF2-40B4-BE49-F238E27FC236}">
                    <a16:creationId xmlns:a16="http://schemas.microsoft.com/office/drawing/2014/main" id="{13B76823-A6A2-4A2A-B286-6C1BDCA44A7E}"/>
                  </a:ext>
                </a:extLst>
              </p:cNvPr>
              <p:cNvCxnSpPr/>
              <p:nvPr/>
            </p:nvCxnSpPr>
            <p:spPr>
              <a:xfrm>
                <a:off x="5197057" y="2542788"/>
                <a:ext cx="5712412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8" name="Ellipse 7">
                <a:extLst>
                  <a:ext uri="{FF2B5EF4-FFF2-40B4-BE49-F238E27FC236}">
                    <a16:creationId xmlns:a16="http://schemas.microsoft.com/office/drawing/2014/main" id="{09F74F38-7714-4078-AFE7-560B3BFA7F8F}"/>
                  </a:ext>
                </a:extLst>
              </p:cNvPr>
              <p:cNvSpPr/>
              <p:nvPr/>
            </p:nvSpPr>
            <p:spPr>
              <a:xfrm>
                <a:off x="5032517" y="1627118"/>
                <a:ext cx="360000" cy="360000"/>
              </a:xfrm>
              <a:prstGeom prst="ellipse">
                <a:avLst/>
              </a:prstGeom>
              <a:solidFill>
                <a:srgbClr val="8EBAE5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54" name="Ellipse 153">
                <a:extLst>
                  <a:ext uri="{FF2B5EF4-FFF2-40B4-BE49-F238E27FC236}">
                    <a16:creationId xmlns:a16="http://schemas.microsoft.com/office/drawing/2014/main" id="{B646EBE9-8D0F-4B21-9433-1491F0C2EC85}"/>
                  </a:ext>
                </a:extLst>
              </p:cNvPr>
              <p:cNvSpPr/>
              <p:nvPr/>
            </p:nvSpPr>
            <p:spPr>
              <a:xfrm>
                <a:off x="5678367" y="1627118"/>
                <a:ext cx="360000" cy="360000"/>
              </a:xfrm>
              <a:prstGeom prst="ellipse">
                <a:avLst/>
              </a:prstGeom>
              <a:solidFill>
                <a:srgbClr val="8EBAE5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56" name="Ellipse 155">
                <a:extLst>
                  <a:ext uri="{FF2B5EF4-FFF2-40B4-BE49-F238E27FC236}">
                    <a16:creationId xmlns:a16="http://schemas.microsoft.com/office/drawing/2014/main" id="{D3F86EEC-36AE-4FF0-A542-C33EEFC70AC3}"/>
                  </a:ext>
                </a:extLst>
              </p:cNvPr>
              <p:cNvSpPr/>
              <p:nvPr/>
            </p:nvSpPr>
            <p:spPr>
              <a:xfrm>
                <a:off x="6324216" y="1627118"/>
                <a:ext cx="360000" cy="360000"/>
              </a:xfrm>
              <a:prstGeom prst="ellipse">
                <a:avLst/>
              </a:prstGeom>
              <a:solidFill>
                <a:srgbClr val="8EBAE5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58" name="Ellipse 157">
                <a:extLst>
                  <a:ext uri="{FF2B5EF4-FFF2-40B4-BE49-F238E27FC236}">
                    <a16:creationId xmlns:a16="http://schemas.microsoft.com/office/drawing/2014/main" id="{64E4ED45-6F07-4669-B6C8-8A61A13FD816}"/>
                  </a:ext>
                </a:extLst>
              </p:cNvPr>
              <p:cNvSpPr/>
              <p:nvPr/>
            </p:nvSpPr>
            <p:spPr>
              <a:xfrm>
                <a:off x="6970065" y="1627118"/>
                <a:ext cx="360000" cy="360000"/>
              </a:xfrm>
              <a:prstGeom prst="ellipse">
                <a:avLst/>
              </a:prstGeom>
              <a:solidFill>
                <a:srgbClr val="8EBAE5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60" name="Ellipse 159">
                <a:extLst>
                  <a:ext uri="{FF2B5EF4-FFF2-40B4-BE49-F238E27FC236}">
                    <a16:creationId xmlns:a16="http://schemas.microsoft.com/office/drawing/2014/main" id="{0C3B31B6-8A41-443C-86B9-8BA233AC8ABA}"/>
                  </a:ext>
                </a:extLst>
              </p:cNvPr>
              <p:cNvSpPr/>
              <p:nvPr/>
            </p:nvSpPr>
            <p:spPr>
              <a:xfrm>
                <a:off x="7615914" y="1627118"/>
                <a:ext cx="360000" cy="360000"/>
              </a:xfrm>
              <a:prstGeom prst="ellipse">
                <a:avLst/>
              </a:prstGeom>
              <a:solidFill>
                <a:srgbClr val="8EBAE5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62" name="Ellipse 161">
                <a:extLst>
                  <a:ext uri="{FF2B5EF4-FFF2-40B4-BE49-F238E27FC236}">
                    <a16:creationId xmlns:a16="http://schemas.microsoft.com/office/drawing/2014/main" id="{1CC3720D-3A40-4502-AFDC-0FB5E66089E2}"/>
                  </a:ext>
                </a:extLst>
              </p:cNvPr>
              <p:cNvSpPr/>
              <p:nvPr/>
            </p:nvSpPr>
            <p:spPr>
              <a:xfrm>
                <a:off x="8261763" y="1627118"/>
                <a:ext cx="360000" cy="360000"/>
              </a:xfrm>
              <a:prstGeom prst="ellipse">
                <a:avLst/>
              </a:prstGeom>
              <a:solidFill>
                <a:srgbClr val="8EBAE5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64" name="Ellipse 163">
                <a:extLst>
                  <a:ext uri="{FF2B5EF4-FFF2-40B4-BE49-F238E27FC236}">
                    <a16:creationId xmlns:a16="http://schemas.microsoft.com/office/drawing/2014/main" id="{00A6402D-5C3B-421B-AD6C-3D594B9F954F}"/>
                  </a:ext>
                </a:extLst>
              </p:cNvPr>
              <p:cNvSpPr/>
              <p:nvPr/>
            </p:nvSpPr>
            <p:spPr>
              <a:xfrm>
                <a:off x="8907612" y="1627118"/>
                <a:ext cx="360000" cy="360000"/>
              </a:xfrm>
              <a:prstGeom prst="ellipse">
                <a:avLst/>
              </a:prstGeom>
              <a:solidFill>
                <a:srgbClr val="8EBAE5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66" name="Ellipse 165">
                <a:extLst>
                  <a:ext uri="{FF2B5EF4-FFF2-40B4-BE49-F238E27FC236}">
                    <a16:creationId xmlns:a16="http://schemas.microsoft.com/office/drawing/2014/main" id="{7537FEE3-BDEE-45A3-B078-D7BF3527791C}"/>
                  </a:ext>
                </a:extLst>
              </p:cNvPr>
              <p:cNvSpPr/>
              <p:nvPr/>
            </p:nvSpPr>
            <p:spPr>
              <a:xfrm>
                <a:off x="9553461" y="1627118"/>
                <a:ext cx="360000" cy="360000"/>
              </a:xfrm>
              <a:prstGeom prst="ellipse">
                <a:avLst/>
              </a:prstGeom>
              <a:solidFill>
                <a:srgbClr val="8EBAE5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68" name="Ellipse 167">
                <a:extLst>
                  <a:ext uri="{FF2B5EF4-FFF2-40B4-BE49-F238E27FC236}">
                    <a16:creationId xmlns:a16="http://schemas.microsoft.com/office/drawing/2014/main" id="{20F7AD11-D4E4-42F3-A16E-55C39D7292D6}"/>
                  </a:ext>
                </a:extLst>
              </p:cNvPr>
              <p:cNvSpPr/>
              <p:nvPr/>
            </p:nvSpPr>
            <p:spPr>
              <a:xfrm>
                <a:off x="10199313" y="1627118"/>
                <a:ext cx="360000" cy="360000"/>
              </a:xfrm>
              <a:prstGeom prst="ellipse">
                <a:avLst/>
              </a:prstGeom>
              <a:solidFill>
                <a:srgbClr val="8EBAE5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70" name="Ellipse 169">
                <a:extLst>
                  <a:ext uri="{FF2B5EF4-FFF2-40B4-BE49-F238E27FC236}">
                    <a16:creationId xmlns:a16="http://schemas.microsoft.com/office/drawing/2014/main" id="{67EE4AFF-2A88-49D4-8C4D-7230B5FBB89A}"/>
                  </a:ext>
                </a:extLst>
              </p:cNvPr>
              <p:cNvSpPr/>
              <p:nvPr/>
            </p:nvSpPr>
            <p:spPr>
              <a:xfrm>
                <a:off x="5032517" y="2350571"/>
                <a:ext cx="360000" cy="360000"/>
              </a:xfrm>
              <a:prstGeom prst="ellipse">
                <a:avLst/>
              </a:prstGeom>
              <a:solidFill>
                <a:srgbClr val="8EBAE5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71" name="Ellipse 170">
                <a:extLst>
                  <a:ext uri="{FF2B5EF4-FFF2-40B4-BE49-F238E27FC236}">
                    <a16:creationId xmlns:a16="http://schemas.microsoft.com/office/drawing/2014/main" id="{19E5DC80-6DCA-49CA-95B1-BCC1E5FBEAA6}"/>
                  </a:ext>
                </a:extLst>
              </p:cNvPr>
              <p:cNvSpPr/>
              <p:nvPr/>
            </p:nvSpPr>
            <p:spPr>
              <a:xfrm>
                <a:off x="5678367" y="2350571"/>
                <a:ext cx="360000" cy="360000"/>
              </a:xfrm>
              <a:prstGeom prst="ellipse">
                <a:avLst/>
              </a:prstGeom>
              <a:solidFill>
                <a:srgbClr val="8EBAE5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72" name="Ellipse 171">
                <a:extLst>
                  <a:ext uri="{FF2B5EF4-FFF2-40B4-BE49-F238E27FC236}">
                    <a16:creationId xmlns:a16="http://schemas.microsoft.com/office/drawing/2014/main" id="{BF5804B3-B340-49AB-93E7-116967F31BBF}"/>
                  </a:ext>
                </a:extLst>
              </p:cNvPr>
              <p:cNvSpPr/>
              <p:nvPr/>
            </p:nvSpPr>
            <p:spPr>
              <a:xfrm>
                <a:off x="6324216" y="2350571"/>
                <a:ext cx="360000" cy="360000"/>
              </a:xfrm>
              <a:prstGeom prst="ellipse">
                <a:avLst/>
              </a:prstGeom>
              <a:solidFill>
                <a:srgbClr val="8EBAE5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73" name="Ellipse 172">
                <a:extLst>
                  <a:ext uri="{FF2B5EF4-FFF2-40B4-BE49-F238E27FC236}">
                    <a16:creationId xmlns:a16="http://schemas.microsoft.com/office/drawing/2014/main" id="{93C7FCEF-5FFE-45EC-8AD8-E8FFDC9B7FC6}"/>
                  </a:ext>
                </a:extLst>
              </p:cNvPr>
              <p:cNvSpPr/>
              <p:nvPr/>
            </p:nvSpPr>
            <p:spPr>
              <a:xfrm>
                <a:off x="6970065" y="2350571"/>
                <a:ext cx="360000" cy="360000"/>
              </a:xfrm>
              <a:prstGeom prst="ellipse">
                <a:avLst/>
              </a:prstGeom>
              <a:solidFill>
                <a:srgbClr val="8EBAE5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74" name="Ellipse 173">
                <a:extLst>
                  <a:ext uri="{FF2B5EF4-FFF2-40B4-BE49-F238E27FC236}">
                    <a16:creationId xmlns:a16="http://schemas.microsoft.com/office/drawing/2014/main" id="{E30D320E-0547-4CB0-BC3E-1E93307490DC}"/>
                  </a:ext>
                </a:extLst>
              </p:cNvPr>
              <p:cNvSpPr/>
              <p:nvPr/>
            </p:nvSpPr>
            <p:spPr>
              <a:xfrm>
                <a:off x="7615914" y="2350571"/>
                <a:ext cx="360000" cy="360000"/>
              </a:xfrm>
              <a:prstGeom prst="ellipse">
                <a:avLst/>
              </a:prstGeom>
              <a:solidFill>
                <a:srgbClr val="8EBAE5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75" name="Ellipse 174">
                <a:extLst>
                  <a:ext uri="{FF2B5EF4-FFF2-40B4-BE49-F238E27FC236}">
                    <a16:creationId xmlns:a16="http://schemas.microsoft.com/office/drawing/2014/main" id="{C3CAC24A-7F52-4EA5-AC1B-2A0895F844EC}"/>
                  </a:ext>
                </a:extLst>
              </p:cNvPr>
              <p:cNvSpPr/>
              <p:nvPr/>
            </p:nvSpPr>
            <p:spPr>
              <a:xfrm>
                <a:off x="8261763" y="2350571"/>
                <a:ext cx="360000" cy="360000"/>
              </a:xfrm>
              <a:prstGeom prst="ellipse">
                <a:avLst/>
              </a:prstGeom>
              <a:solidFill>
                <a:srgbClr val="8EBAE5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76" name="Ellipse 175">
                <a:extLst>
                  <a:ext uri="{FF2B5EF4-FFF2-40B4-BE49-F238E27FC236}">
                    <a16:creationId xmlns:a16="http://schemas.microsoft.com/office/drawing/2014/main" id="{1199ACA1-EC65-4309-A08C-EE319C157BBD}"/>
                  </a:ext>
                </a:extLst>
              </p:cNvPr>
              <p:cNvSpPr/>
              <p:nvPr/>
            </p:nvSpPr>
            <p:spPr>
              <a:xfrm>
                <a:off x="8907612" y="2350571"/>
                <a:ext cx="360000" cy="360000"/>
              </a:xfrm>
              <a:prstGeom prst="ellipse">
                <a:avLst/>
              </a:prstGeom>
              <a:solidFill>
                <a:srgbClr val="8EBAE5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77" name="Ellipse 176">
                <a:extLst>
                  <a:ext uri="{FF2B5EF4-FFF2-40B4-BE49-F238E27FC236}">
                    <a16:creationId xmlns:a16="http://schemas.microsoft.com/office/drawing/2014/main" id="{68A23623-7912-4CB3-A81B-C4AB5ED76E65}"/>
                  </a:ext>
                </a:extLst>
              </p:cNvPr>
              <p:cNvSpPr/>
              <p:nvPr/>
            </p:nvSpPr>
            <p:spPr>
              <a:xfrm>
                <a:off x="9553461" y="2350571"/>
                <a:ext cx="360000" cy="360000"/>
              </a:xfrm>
              <a:prstGeom prst="ellipse">
                <a:avLst/>
              </a:prstGeom>
              <a:solidFill>
                <a:srgbClr val="8EBAE5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78" name="Ellipse 177">
                <a:extLst>
                  <a:ext uri="{FF2B5EF4-FFF2-40B4-BE49-F238E27FC236}">
                    <a16:creationId xmlns:a16="http://schemas.microsoft.com/office/drawing/2014/main" id="{1D65822C-6A48-4E92-BA58-584E7E8D69A3}"/>
                  </a:ext>
                </a:extLst>
              </p:cNvPr>
              <p:cNvSpPr/>
              <p:nvPr/>
            </p:nvSpPr>
            <p:spPr>
              <a:xfrm>
                <a:off x="10199313" y="2350571"/>
                <a:ext cx="360000" cy="360000"/>
              </a:xfrm>
              <a:prstGeom prst="ellipse">
                <a:avLst/>
              </a:prstGeom>
              <a:solidFill>
                <a:srgbClr val="8EBAE5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grpSp>
            <p:nvGrpSpPr>
              <p:cNvPr id="2" name="Gruppieren 1">
                <a:extLst>
                  <a:ext uri="{FF2B5EF4-FFF2-40B4-BE49-F238E27FC236}">
                    <a16:creationId xmlns:a16="http://schemas.microsoft.com/office/drawing/2014/main" id="{1203E72C-1431-4456-8693-3ADED7A0805B}"/>
                  </a:ext>
                </a:extLst>
              </p:cNvPr>
              <p:cNvGrpSpPr/>
              <p:nvPr/>
            </p:nvGrpSpPr>
            <p:grpSpPr>
              <a:xfrm>
                <a:off x="5382673" y="1289825"/>
                <a:ext cx="5526796" cy="1083453"/>
                <a:chOff x="5184917" y="1779518"/>
                <a:chExt cx="5526796" cy="1083453"/>
              </a:xfrm>
            </p:grpSpPr>
            <p:sp>
              <p:nvSpPr>
                <p:cNvPr id="179" name="Ellipse 178">
                  <a:extLst>
                    <a:ext uri="{FF2B5EF4-FFF2-40B4-BE49-F238E27FC236}">
                      <a16:creationId xmlns:a16="http://schemas.microsoft.com/office/drawing/2014/main" id="{30905DBD-6778-4CFF-BCE6-43C004CBE063}"/>
                    </a:ext>
                  </a:extLst>
                </p:cNvPr>
                <p:cNvSpPr/>
                <p:nvPr/>
              </p:nvSpPr>
              <p:spPr>
                <a:xfrm>
                  <a:off x="5184917" y="1779518"/>
                  <a:ext cx="360000" cy="360000"/>
                </a:xfrm>
                <a:prstGeom prst="ellipse">
                  <a:avLst/>
                </a:prstGeom>
                <a:solidFill>
                  <a:srgbClr val="8EBAE5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180" name="Ellipse 179">
                  <a:extLst>
                    <a:ext uri="{FF2B5EF4-FFF2-40B4-BE49-F238E27FC236}">
                      <a16:creationId xmlns:a16="http://schemas.microsoft.com/office/drawing/2014/main" id="{4E96E8D3-86D0-463C-95F5-4D98FF6D4964}"/>
                    </a:ext>
                  </a:extLst>
                </p:cNvPr>
                <p:cNvSpPr/>
                <p:nvPr/>
              </p:nvSpPr>
              <p:spPr>
                <a:xfrm>
                  <a:off x="5830767" y="1779518"/>
                  <a:ext cx="360000" cy="360000"/>
                </a:xfrm>
                <a:prstGeom prst="ellipse">
                  <a:avLst/>
                </a:prstGeom>
                <a:solidFill>
                  <a:srgbClr val="8EBAE5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181" name="Ellipse 180">
                  <a:extLst>
                    <a:ext uri="{FF2B5EF4-FFF2-40B4-BE49-F238E27FC236}">
                      <a16:creationId xmlns:a16="http://schemas.microsoft.com/office/drawing/2014/main" id="{4D3A6DE2-5558-4F42-B8A7-B39C059048CC}"/>
                    </a:ext>
                  </a:extLst>
                </p:cNvPr>
                <p:cNvSpPr/>
                <p:nvPr/>
              </p:nvSpPr>
              <p:spPr>
                <a:xfrm>
                  <a:off x="6476616" y="1779518"/>
                  <a:ext cx="360000" cy="360000"/>
                </a:xfrm>
                <a:prstGeom prst="ellipse">
                  <a:avLst/>
                </a:prstGeom>
                <a:solidFill>
                  <a:srgbClr val="8EBAE5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182" name="Ellipse 181">
                  <a:extLst>
                    <a:ext uri="{FF2B5EF4-FFF2-40B4-BE49-F238E27FC236}">
                      <a16:creationId xmlns:a16="http://schemas.microsoft.com/office/drawing/2014/main" id="{A4782BE7-DEC7-43C7-9388-97CCBD32B0A4}"/>
                    </a:ext>
                  </a:extLst>
                </p:cNvPr>
                <p:cNvSpPr/>
                <p:nvPr/>
              </p:nvSpPr>
              <p:spPr>
                <a:xfrm>
                  <a:off x="7122465" y="1779518"/>
                  <a:ext cx="360000" cy="360000"/>
                </a:xfrm>
                <a:prstGeom prst="ellipse">
                  <a:avLst/>
                </a:prstGeom>
                <a:solidFill>
                  <a:srgbClr val="8EBAE5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183" name="Ellipse 182">
                  <a:extLst>
                    <a:ext uri="{FF2B5EF4-FFF2-40B4-BE49-F238E27FC236}">
                      <a16:creationId xmlns:a16="http://schemas.microsoft.com/office/drawing/2014/main" id="{2B2917D8-FC7E-44AE-BCA3-F52E93023AD3}"/>
                    </a:ext>
                  </a:extLst>
                </p:cNvPr>
                <p:cNvSpPr/>
                <p:nvPr/>
              </p:nvSpPr>
              <p:spPr>
                <a:xfrm>
                  <a:off x="7768314" y="1779518"/>
                  <a:ext cx="360000" cy="360000"/>
                </a:xfrm>
                <a:prstGeom prst="ellipse">
                  <a:avLst/>
                </a:prstGeom>
                <a:solidFill>
                  <a:srgbClr val="8EBAE5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184" name="Ellipse 183">
                  <a:extLst>
                    <a:ext uri="{FF2B5EF4-FFF2-40B4-BE49-F238E27FC236}">
                      <a16:creationId xmlns:a16="http://schemas.microsoft.com/office/drawing/2014/main" id="{6BD7613F-3FC1-4EE4-873D-8EBB8F5B3353}"/>
                    </a:ext>
                  </a:extLst>
                </p:cNvPr>
                <p:cNvSpPr/>
                <p:nvPr/>
              </p:nvSpPr>
              <p:spPr>
                <a:xfrm>
                  <a:off x="8414163" y="1779518"/>
                  <a:ext cx="360000" cy="360000"/>
                </a:xfrm>
                <a:prstGeom prst="ellipse">
                  <a:avLst/>
                </a:prstGeom>
                <a:solidFill>
                  <a:srgbClr val="8EBAE5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185" name="Ellipse 184">
                  <a:extLst>
                    <a:ext uri="{FF2B5EF4-FFF2-40B4-BE49-F238E27FC236}">
                      <a16:creationId xmlns:a16="http://schemas.microsoft.com/office/drawing/2014/main" id="{AE7DA1EF-3FBF-4247-952B-6114994E8F76}"/>
                    </a:ext>
                  </a:extLst>
                </p:cNvPr>
                <p:cNvSpPr/>
                <p:nvPr/>
              </p:nvSpPr>
              <p:spPr>
                <a:xfrm>
                  <a:off x="9060012" y="1779518"/>
                  <a:ext cx="360000" cy="360000"/>
                </a:xfrm>
                <a:prstGeom prst="ellipse">
                  <a:avLst/>
                </a:prstGeom>
                <a:solidFill>
                  <a:srgbClr val="8EBAE5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186" name="Ellipse 185">
                  <a:extLst>
                    <a:ext uri="{FF2B5EF4-FFF2-40B4-BE49-F238E27FC236}">
                      <a16:creationId xmlns:a16="http://schemas.microsoft.com/office/drawing/2014/main" id="{8E711FDE-7C95-4963-B8E7-F87BB658549D}"/>
                    </a:ext>
                  </a:extLst>
                </p:cNvPr>
                <p:cNvSpPr/>
                <p:nvPr/>
              </p:nvSpPr>
              <p:spPr>
                <a:xfrm>
                  <a:off x="9705861" y="1779518"/>
                  <a:ext cx="360000" cy="360000"/>
                </a:xfrm>
                <a:prstGeom prst="ellipse">
                  <a:avLst/>
                </a:prstGeom>
                <a:solidFill>
                  <a:srgbClr val="8EBAE5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187" name="Ellipse 186">
                  <a:extLst>
                    <a:ext uri="{FF2B5EF4-FFF2-40B4-BE49-F238E27FC236}">
                      <a16:creationId xmlns:a16="http://schemas.microsoft.com/office/drawing/2014/main" id="{A856E02B-4B90-4132-A30E-38E56B2705A8}"/>
                    </a:ext>
                  </a:extLst>
                </p:cNvPr>
                <p:cNvSpPr/>
                <p:nvPr/>
              </p:nvSpPr>
              <p:spPr>
                <a:xfrm>
                  <a:off x="10351713" y="1779518"/>
                  <a:ext cx="360000" cy="360000"/>
                </a:xfrm>
                <a:prstGeom prst="ellipse">
                  <a:avLst/>
                </a:prstGeom>
                <a:solidFill>
                  <a:srgbClr val="8EBAE5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188" name="Ellipse 187">
                  <a:extLst>
                    <a:ext uri="{FF2B5EF4-FFF2-40B4-BE49-F238E27FC236}">
                      <a16:creationId xmlns:a16="http://schemas.microsoft.com/office/drawing/2014/main" id="{A7B3416B-82AC-4310-AE86-246C03B91BA1}"/>
                    </a:ext>
                  </a:extLst>
                </p:cNvPr>
                <p:cNvSpPr/>
                <p:nvPr/>
              </p:nvSpPr>
              <p:spPr>
                <a:xfrm>
                  <a:off x="5184917" y="2502971"/>
                  <a:ext cx="360000" cy="360000"/>
                </a:xfrm>
                <a:prstGeom prst="ellipse">
                  <a:avLst/>
                </a:prstGeom>
                <a:solidFill>
                  <a:srgbClr val="8EBAE5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189" name="Ellipse 188">
                  <a:extLst>
                    <a:ext uri="{FF2B5EF4-FFF2-40B4-BE49-F238E27FC236}">
                      <a16:creationId xmlns:a16="http://schemas.microsoft.com/office/drawing/2014/main" id="{44BE8B35-CC18-44C9-BE5C-CBE69CF8A188}"/>
                    </a:ext>
                  </a:extLst>
                </p:cNvPr>
                <p:cNvSpPr/>
                <p:nvPr/>
              </p:nvSpPr>
              <p:spPr>
                <a:xfrm>
                  <a:off x="5830767" y="2502971"/>
                  <a:ext cx="360000" cy="360000"/>
                </a:xfrm>
                <a:prstGeom prst="ellipse">
                  <a:avLst/>
                </a:prstGeom>
                <a:solidFill>
                  <a:srgbClr val="8EBAE5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190" name="Ellipse 189">
                  <a:extLst>
                    <a:ext uri="{FF2B5EF4-FFF2-40B4-BE49-F238E27FC236}">
                      <a16:creationId xmlns:a16="http://schemas.microsoft.com/office/drawing/2014/main" id="{9DE2971C-D138-4050-82FB-1E8156C681C0}"/>
                    </a:ext>
                  </a:extLst>
                </p:cNvPr>
                <p:cNvSpPr/>
                <p:nvPr/>
              </p:nvSpPr>
              <p:spPr>
                <a:xfrm>
                  <a:off x="6476616" y="2502971"/>
                  <a:ext cx="360000" cy="360000"/>
                </a:xfrm>
                <a:prstGeom prst="ellipse">
                  <a:avLst/>
                </a:prstGeom>
                <a:solidFill>
                  <a:srgbClr val="8EBAE5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191" name="Ellipse 190">
                  <a:extLst>
                    <a:ext uri="{FF2B5EF4-FFF2-40B4-BE49-F238E27FC236}">
                      <a16:creationId xmlns:a16="http://schemas.microsoft.com/office/drawing/2014/main" id="{5259BCD0-84F1-4890-B1E6-1E5DEFAD7057}"/>
                    </a:ext>
                  </a:extLst>
                </p:cNvPr>
                <p:cNvSpPr/>
                <p:nvPr/>
              </p:nvSpPr>
              <p:spPr>
                <a:xfrm>
                  <a:off x="7122465" y="2502971"/>
                  <a:ext cx="360000" cy="360000"/>
                </a:xfrm>
                <a:prstGeom prst="ellipse">
                  <a:avLst/>
                </a:prstGeom>
                <a:solidFill>
                  <a:srgbClr val="8EBAE5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192" name="Ellipse 191">
                  <a:extLst>
                    <a:ext uri="{FF2B5EF4-FFF2-40B4-BE49-F238E27FC236}">
                      <a16:creationId xmlns:a16="http://schemas.microsoft.com/office/drawing/2014/main" id="{071AB9CB-1EAC-41C8-B889-FAAD7F469258}"/>
                    </a:ext>
                  </a:extLst>
                </p:cNvPr>
                <p:cNvSpPr/>
                <p:nvPr/>
              </p:nvSpPr>
              <p:spPr>
                <a:xfrm>
                  <a:off x="7768314" y="2502971"/>
                  <a:ext cx="360000" cy="360000"/>
                </a:xfrm>
                <a:prstGeom prst="ellipse">
                  <a:avLst/>
                </a:prstGeom>
                <a:solidFill>
                  <a:srgbClr val="8EBAE5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193" name="Ellipse 192">
                  <a:extLst>
                    <a:ext uri="{FF2B5EF4-FFF2-40B4-BE49-F238E27FC236}">
                      <a16:creationId xmlns:a16="http://schemas.microsoft.com/office/drawing/2014/main" id="{F2CCDD87-3884-421C-B644-181CC5860A5E}"/>
                    </a:ext>
                  </a:extLst>
                </p:cNvPr>
                <p:cNvSpPr/>
                <p:nvPr/>
              </p:nvSpPr>
              <p:spPr>
                <a:xfrm>
                  <a:off x="8414163" y="2502971"/>
                  <a:ext cx="360000" cy="360000"/>
                </a:xfrm>
                <a:prstGeom prst="ellipse">
                  <a:avLst/>
                </a:prstGeom>
                <a:solidFill>
                  <a:srgbClr val="8EBAE5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194" name="Ellipse 193">
                  <a:extLst>
                    <a:ext uri="{FF2B5EF4-FFF2-40B4-BE49-F238E27FC236}">
                      <a16:creationId xmlns:a16="http://schemas.microsoft.com/office/drawing/2014/main" id="{49BED048-CAA7-44D1-9E4F-7903765B51BB}"/>
                    </a:ext>
                  </a:extLst>
                </p:cNvPr>
                <p:cNvSpPr/>
                <p:nvPr/>
              </p:nvSpPr>
              <p:spPr>
                <a:xfrm>
                  <a:off x="9060012" y="2502971"/>
                  <a:ext cx="360000" cy="360000"/>
                </a:xfrm>
                <a:prstGeom prst="ellipse">
                  <a:avLst/>
                </a:prstGeom>
                <a:solidFill>
                  <a:srgbClr val="8EBAE5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195" name="Ellipse 194">
                  <a:extLst>
                    <a:ext uri="{FF2B5EF4-FFF2-40B4-BE49-F238E27FC236}">
                      <a16:creationId xmlns:a16="http://schemas.microsoft.com/office/drawing/2014/main" id="{09D802E8-76F1-463B-A219-2286F1F26879}"/>
                    </a:ext>
                  </a:extLst>
                </p:cNvPr>
                <p:cNvSpPr/>
                <p:nvPr/>
              </p:nvSpPr>
              <p:spPr>
                <a:xfrm>
                  <a:off x="9705861" y="2502971"/>
                  <a:ext cx="360000" cy="360000"/>
                </a:xfrm>
                <a:prstGeom prst="ellipse">
                  <a:avLst/>
                </a:prstGeom>
                <a:solidFill>
                  <a:srgbClr val="8EBAE5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196" name="Ellipse 195">
                  <a:extLst>
                    <a:ext uri="{FF2B5EF4-FFF2-40B4-BE49-F238E27FC236}">
                      <a16:creationId xmlns:a16="http://schemas.microsoft.com/office/drawing/2014/main" id="{81D2B573-192A-46E3-A99F-C4EE44EB5B8E}"/>
                    </a:ext>
                  </a:extLst>
                </p:cNvPr>
                <p:cNvSpPr/>
                <p:nvPr/>
              </p:nvSpPr>
              <p:spPr>
                <a:xfrm>
                  <a:off x="10351713" y="2502971"/>
                  <a:ext cx="360000" cy="360000"/>
                </a:xfrm>
                <a:prstGeom prst="ellipse">
                  <a:avLst/>
                </a:prstGeom>
                <a:solidFill>
                  <a:srgbClr val="8EBAE5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</p:grpSp>
          <p:cxnSp>
            <p:nvCxnSpPr>
              <p:cNvPr id="6" name="Gerader Verbinder 5">
                <a:extLst>
                  <a:ext uri="{FF2B5EF4-FFF2-40B4-BE49-F238E27FC236}">
                    <a16:creationId xmlns:a16="http://schemas.microsoft.com/office/drawing/2014/main" id="{BF816E9C-AC92-41A5-990E-478AB6A33F3A}"/>
                  </a:ext>
                </a:extLst>
              </p:cNvPr>
              <p:cNvCxnSpPr>
                <a:stCxn id="8" idx="4"/>
                <a:endCxn id="8" idx="4"/>
              </p:cNvCxnSpPr>
              <p:nvPr/>
            </p:nvCxnSpPr>
            <p:spPr>
              <a:xfrm>
                <a:off x="5212517" y="1987118"/>
                <a:ext cx="0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Gerader Verbinder 89">
                <a:extLst>
                  <a:ext uri="{FF2B5EF4-FFF2-40B4-BE49-F238E27FC236}">
                    <a16:creationId xmlns:a16="http://schemas.microsoft.com/office/drawing/2014/main" id="{109F90EC-8D47-4826-A51A-F69DDC31C6D8}"/>
                  </a:ext>
                </a:extLst>
              </p:cNvPr>
              <p:cNvCxnSpPr>
                <a:stCxn id="8" idx="4"/>
                <a:endCxn id="170" idx="0"/>
              </p:cNvCxnSpPr>
              <p:nvPr/>
            </p:nvCxnSpPr>
            <p:spPr>
              <a:xfrm>
                <a:off x="5212517" y="1987118"/>
                <a:ext cx="0" cy="363453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7" name="Gerader Verbinder 196">
                <a:extLst>
                  <a:ext uri="{FF2B5EF4-FFF2-40B4-BE49-F238E27FC236}">
                    <a16:creationId xmlns:a16="http://schemas.microsoft.com/office/drawing/2014/main" id="{0620F17D-7C78-4742-974D-4E0308A71B83}"/>
                  </a:ext>
                </a:extLst>
              </p:cNvPr>
              <p:cNvCxnSpPr/>
              <p:nvPr/>
            </p:nvCxnSpPr>
            <p:spPr>
              <a:xfrm>
                <a:off x="5855219" y="1987118"/>
                <a:ext cx="0" cy="363453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8" name="Gerader Verbinder 197">
                <a:extLst>
                  <a:ext uri="{FF2B5EF4-FFF2-40B4-BE49-F238E27FC236}">
                    <a16:creationId xmlns:a16="http://schemas.microsoft.com/office/drawing/2014/main" id="{D8D0D808-E579-4E8C-B31C-C656E87CD684}"/>
                  </a:ext>
                </a:extLst>
              </p:cNvPr>
              <p:cNvCxnSpPr/>
              <p:nvPr/>
            </p:nvCxnSpPr>
            <p:spPr>
              <a:xfrm>
                <a:off x="6513381" y="1987118"/>
                <a:ext cx="0" cy="363453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9" name="Gerader Verbinder 198">
                <a:extLst>
                  <a:ext uri="{FF2B5EF4-FFF2-40B4-BE49-F238E27FC236}">
                    <a16:creationId xmlns:a16="http://schemas.microsoft.com/office/drawing/2014/main" id="{4AB6E308-A797-40FA-8239-6B2B27DE8749}"/>
                  </a:ext>
                </a:extLst>
              </p:cNvPr>
              <p:cNvCxnSpPr/>
              <p:nvPr/>
            </p:nvCxnSpPr>
            <p:spPr>
              <a:xfrm>
                <a:off x="7150065" y="1987118"/>
                <a:ext cx="0" cy="363453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0" name="Gerader Verbinder 199">
                <a:extLst>
                  <a:ext uri="{FF2B5EF4-FFF2-40B4-BE49-F238E27FC236}">
                    <a16:creationId xmlns:a16="http://schemas.microsoft.com/office/drawing/2014/main" id="{DF6335AB-C0F3-4D9B-A326-959311FC4D36}"/>
                  </a:ext>
                </a:extLst>
              </p:cNvPr>
              <p:cNvCxnSpPr/>
              <p:nvPr/>
            </p:nvCxnSpPr>
            <p:spPr>
              <a:xfrm>
                <a:off x="7797101" y="1987118"/>
                <a:ext cx="0" cy="363453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1" name="Gerader Verbinder 200">
                <a:extLst>
                  <a:ext uri="{FF2B5EF4-FFF2-40B4-BE49-F238E27FC236}">
                    <a16:creationId xmlns:a16="http://schemas.microsoft.com/office/drawing/2014/main" id="{7475FD30-F90C-4B80-A796-80B38F38D3D2}"/>
                  </a:ext>
                </a:extLst>
              </p:cNvPr>
              <p:cNvCxnSpPr/>
              <p:nvPr/>
            </p:nvCxnSpPr>
            <p:spPr>
              <a:xfrm>
                <a:off x="8449868" y="1987118"/>
                <a:ext cx="0" cy="363453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2" name="Gerader Verbinder 201">
                <a:extLst>
                  <a:ext uri="{FF2B5EF4-FFF2-40B4-BE49-F238E27FC236}">
                    <a16:creationId xmlns:a16="http://schemas.microsoft.com/office/drawing/2014/main" id="{208058AF-8D1E-4142-9CE5-F599E2A79465}"/>
                  </a:ext>
                </a:extLst>
              </p:cNvPr>
              <p:cNvCxnSpPr/>
              <p:nvPr/>
            </p:nvCxnSpPr>
            <p:spPr>
              <a:xfrm>
                <a:off x="9087612" y="1987118"/>
                <a:ext cx="0" cy="363453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3" name="Gerader Verbinder 202">
                <a:extLst>
                  <a:ext uri="{FF2B5EF4-FFF2-40B4-BE49-F238E27FC236}">
                    <a16:creationId xmlns:a16="http://schemas.microsoft.com/office/drawing/2014/main" id="{CA3C47D7-E8A7-4DDC-87C3-75FC829CC6BE}"/>
                  </a:ext>
                </a:extLst>
              </p:cNvPr>
              <p:cNvCxnSpPr/>
              <p:nvPr/>
            </p:nvCxnSpPr>
            <p:spPr>
              <a:xfrm>
                <a:off x="9733461" y="1987118"/>
                <a:ext cx="0" cy="363453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4" name="Gerader Verbinder 203">
                <a:extLst>
                  <a:ext uri="{FF2B5EF4-FFF2-40B4-BE49-F238E27FC236}">
                    <a16:creationId xmlns:a16="http://schemas.microsoft.com/office/drawing/2014/main" id="{D69D16DA-A032-49F8-A207-4C57B82288A9}"/>
                  </a:ext>
                </a:extLst>
              </p:cNvPr>
              <p:cNvCxnSpPr/>
              <p:nvPr/>
            </p:nvCxnSpPr>
            <p:spPr>
              <a:xfrm>
                <a:off x="10379313" y="1987118"/>
                <a:ext cx="0" cy="363453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132" name="Gruppieren 131">
                <a:extLst>
                  <a:ext uri="{FF2B5EF4-FFF2-40B4-BE49-F238E27FC236}">
                    <a16:creationId xmlns:a16="http://schemas.microsoft.com/office/drawing/2014/main" id="{261968DD-5CDD-4E18-B923-F0927253498F}"/>
                  </a:ext>
                </a:extLst>
              </p:cNvPr>
              <p:cNvGrpSpPr/>
              <p:nvPr/>
            </p:nvGrpSpPr>
            <p:grpSpPr>
              <a:xfrm>
                <a:off x="5556547" y="1652136"/>
                <a:ext cx="5166796" cy="363453"/>
                <a:chOff x="5212517" y="1552551"/>
                <a:chExt cx="5166796" cy="363453"/>
              </a:xfrm>
            </p:grpSpPr>
            <p:cxnSp>
              <p:nvCxnSpPr>
                <p:cNvPr id="205" name="Gerader Verbinder 204">
                  <a:extLst>
                    <a:ext uri="{FF2B5EF4-FFF2-40B4-BE49-F238E27FC236}">
                      <a16:creationId xmlns:a16="http://schemas.microsoft.com/office/drawing/2014/main" id="{7C8CBE35-D2D2-403D-9C00-C77716DF668E}"/>
                    </a:ext>
                  </a:extLst>
                </p:cNvPr>
                <p:cNvCxnSpPr/>
                <p:nvPr/>
              </p:nvCxnSpPr>
              <p:spPr>
                <a:xfrm>
                  <a:off x="5212517" y="1552551"/>
                  <a:ext cx="0" cy="363453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6" name="Gerader Verbinder 205">
                  <a:extLst>
                    <a:ext uri="{FF2B5EF4-FFF2-40B4-BE49-F238E27FC236}">
                      <a16:creationId xmlns:a16="http://schemas.microsoft.com/office/drawing/2014/main" id="{FF08C8AC-E0E3-443C-9EE0-69A9A488AF15}"/>
                    </a:ext>
                  </a:extLst>
                </p:cNvPr>
                <p:cNvCxnSpPr/>
                <p:nvPr/>
              </p:nvCxnSpPr>
              <p:spPr>
                <a:xfrm>
                  <a:off x="5855219" y="1552551"/>
                  <a:ext cx="0" cy="363453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7" name="Gerader Verbinder 206">
                  <a:extLst>
                    <a:ext uri="{FF2B5EF4-FFF2-40B4-BE49-F238E27FC236}">
                      <a16:creationId xmlns:a16="http://schemas.microsoft.com/office/drawing/2014/main" id="{769D0127-6862-4AC1-BEDB-4C0496C7D958}"/>
                    </a:ext>
                  </a:extLst>
                </p:cNvPr>
                <p:cNvCxnSpPr/>
                <p:nvPr/>
              </p:nvCxnSpPr>
              <p:spPr>
                <a:xfrm>
                  <a:off x="6513381" y="1552551"/>
                  <a:ext cx="0" cy="363453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8" name="Gerader Verbinder 207">
                  <a:extLst>
                    <a:ext uri="{FF2B5EF4-FFF2-40B4-BE49-F238E27FC236}">
                      <a16:creationId xmlns:a16="http://schemas.microsoft.com/office/drawing/2014/main" id="{F1BD6608-F8FC-481C-A21A-C4161BC44770}"/>
                    </a:ext>
                  </a:extLst>
                </p:cNvPr>
                <p:cNvCxnSpPr/>
                <p:nvPr/>
              </p:nvCxnSpPr>
              <p:spPr>
                <a:xfrm>
                  <a:off x="7150065" y="1552551"/>
                  <a:ext cx="0" cy="363453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9" name="Gerader Verbinder 208">
                  <a:extLst>
                    <a:ext uri="{FF2B5EF4-FFF2-40B4-BE49-F238E27FC236}">
                      <a16:creationId xmlns:a16="http://schemas.microsoft.com/office/drawing/2014/main" id="{310036B3-55DA-4528-94D1-C58108D9B085}"/>
                    </a:ext>
                  </a:extLst>
                </p:cNvPr>
                <p:cNvCxnSpPr/>
                <p:nvPr/>
              </p:nvCxnSpPr>
              <p:spPr>
                <a:xfrm>
                  <a:off x="7797101" y="1552551"/>
                  <a:ext cx="0" cy="363453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0" name="Gerader Verbinder 209">
                  <a:extLst>
                    <a:ext uri="{FF2B5EF4-FFF2-40B4-BE49-F238E27FC236}">
                      <a16:creationId xmlns:a16="http://schemas.microsoft.com/office/drawing/2014/main" id="{4DD02B84-0884-4DEC-AB84-5486F19C5E9F}"/>
                    </a:ext>
                  </a:extLst>
                </p:cNvPr>
                <p:cNvCxnSpPr/>
                <p:nvPr/>
              </p:nvCxnSpPr>
              <p:spPr>
                <a:xfrm>
                  <a:off x="8449868" y="1552551"/>
                  <a:ext cx="0" cy="363453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1" name="Gerader Verbinder 210">
                  <a:extLst>
                    <a:ext uri="{FF2B5EF4-FFF2-40B4-BE49-F238E27FC236}">
                      <a16:creationId xmlns:a16="http://schemas.microsoft.com/office/drawing/2014/main" id="{6004C46E-FA2C-41E3-ADC3-B6735507DA1F}"/>
                    </a:ext>
                  </a:extLst>
                </p:cNvPr>
                <p:cNvCxnSpPr/>
                <p:nvPr/>
              </p:nvCxnSpPr>
              <p:spPr>
                <a:xfrm>
                  <a:off x="9087612" y="1552551"/>
                  <a:ext cx="0" cy="363453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2" name="Gerader Verbinder 211">
                  <a:extLst>
                    <a:ext uri="{FF2B5EF4-FFF2-40B4-BE49-F238E27FC236}">
                      <a16:creationId xmlns:a16="http://schemas.microsoft.com/office/drawing/2014/main" id="{52092B5A-EDBD-47CF-8D26-72AB95EFC87F}"/>
                    </a:ext>
                  </a:extLst>
                </p:cNvPr>
                <p:cNvCxnSpPr/>
                <p:nvPr/>
              </p:nvCxnSpPr>
              <p:spPr>
                <a:xfrm>
                  <a:off x="9733461" y="1552551"/>
                  <a:ext cx="0" cy="363453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3" name="Gerader Verbinder 212">
                  <a:extLst>
                    <a:ext uri="{FF2B5EF4-FFF2-40B4-BE49-F238E27FC236}">
                      <a16:creationId xmlns:a16="http://schemas.microsoft.com/office/drawing/2014/main" id="{4719E394-86D7-42BC-A342-BCFCCF0C8621}"/>
                    </a:ext>
                  </a:extLst>
                </p:cNvPr>
                <p:cNvCxnSpPr/>
                <p:nvPr/>
              </p:nvCxnSpPr>
              <p:spPr>
                <a:xfrm>
                  <a:off x="10379313" y="1552551"/>
                  <a:ext cx="0" cy="363453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18" name="Gruppieren 217">
                <a:extLst>
                  <a:ext uri="{FF2B5EF4-FFF2-40B4-BE49-F238E27FC236}">
                    <a16:creationId xmlns:a16="http://schemas.microsoft.com/office/drawing/2014/main" id="{7C26A981-BA58-4211-A12D-A8C2788A085A}"/>
                  </a:ext>
                </a:extLst>
              </p:cNvPr>
              <p:cNvGrpSpPr/>
              <p:nvPr/>
            </p:nvGrpSpPr>
            <p:grpSpPr>
              <a:xfrm>
                <a:off x="5339796" y="1597104"/>
                <a:ext cx="113704" cy="830466"/>
                <a:chOff x="5339796" y="1597104"/>
                <a:chExt cx="113704" cy="830466"/>
              </a:xfrm>
            </p:grpSpPr>
            <p:cxnSp>
              <p:nvCxnSpPr>
                <p:cNvPr id="140" name="Gerader Verbinder 139">
                  <a:extLst>
                    <a:ext uri="{FF2B5EF4-FFF2-40B4-BE49-F238E27FC236}">
                      <a16:creationId xmlns:a16="http://schemas.microsoft.com/office/drawing/2014/main" id="{C238FE4B-EC7E-4EDC-98DA-4DE8A75C1A0E}"/>
                    </a:ext>
                  </a:extLst>
                </p:cNvPr>
                <p:cNvCxnSpPr>
                  <a:stCxn id="179" idx="3"/>
                  <a:endCxn id="8" idx="7"/>
                </p:cNvCxnSpPr>
                <p:nvPr/>
              </p:nvCxnSpPr>
              <p:spPr>
                <a:xfrm flipH="1">
                  <a:off x="5339796" y="1597104"/>
                  <a:ext cx="95598" cy="82735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5" name="Gerader Verbinder 214">
                  <a:extLst>
                    <a:ext uri="{FF2B5EF4-FFF2-40B4-BE49-F238E27FC236}">
                      <a16:creationId xmlns:a16="http://schemas.microsoft.com/office/drawing/2014/main" id="{29E8E89B-1AC3-465A-87A0-CF5149BE84D7}"/>
                    </a:ext>
                  </a:extLst>
                </p:cNvPr>
                <p:cNvCxnSpPr/>
                <p:nvPr/>
              </p:nvCxnSpPr>
              <p:spPr>
                <a:xfrm flipH="1">
                  <a:off x="5357902" y="2344835"/>
                  <a:ext cx="95598" cy="82735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216" name="Gerader Verbinder 215">
                <a:extLst>
                  <a:ext uri="{FF2B5EF4-FFF2-40B4-BE49-F238E27FC236}">
                    <a16:creationId xmlns:a16="http://schemas.microsoft.com/office/drawing/2014/main" id="{59E87416-B69F-445B-B029-CCCA38B7CC60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5990473" y="1597104"/>
                <a:ext cx="95598" cy="82735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7" name="Gerader Verbinder 216">
                <a:extLst>
                  <a:ext uri="{FF2B5EF4-FFF2-40B4-BE49-F238E27FC236}">
                    <a16:creationId xmlns:a16="http://schemas.microsoft.com/office/drawing/2014/main" id="{842168FF-83FE-4200-9046-AC98C54C5674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6008579" y="2344835"/>
                <a:ext cx="95598" cy="82735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0" name="Gerader Verbinder 219">
                <a:extLst>
                  <a:ext uri="{FF2B5EF4-FFF2-40B4-BE49-F238E27FC236}">
                    <a16:creationId xmlns:a16="http://schemas.microsoft.com/office/drawing/2014/main" id="{BB98B92A-24B8-4036-B4CC-3220D509B517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6613530" y="1575883"/>
                <a:ext cx="95598" cy="82735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1" name="Gerader Verbinder 220">
                <a:extLst>
                  <a:ext uri="{FF2B5EF4-FFF2-40B4-BE49-F238E27FC236}">
                    <a16:creationId xmlns:a16="http://schemas.microsoft.com/office/drawing/2014/main" id="{19F08507-E9A1-4BF9-9B16-AE5604330143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6630225" y="2325491"/>
                <a:ext cx="95598" cy="82735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223" name="Gruppieren 222">
                <a:extLst>
                  <a:ext uri="{FF2B5EF4-FFF2-40B4-BE49-F238E27FC236}">
                    <a16:creationId xmlns:a16="http://schemas.microsoft.com/office/drawing/2014/main" id="{E1904F3F-7E9B-4A28-9DD2-29E1F2057620}"/>
                  </a:ext>
                </a:extLst>
              </p:cNvPr>
              <p:cNvGrpSpPr/>
              <p:nvPr/>
            </p:nvGrpSpPr>
            <p:grpSpPr>
              <a:xfrm>
                <a:off x="7278614" y="1597104"/>
                <a:ext cx="113704" cy="830466"/>
                <a:chOff x="5339796" y="1597104"/>
                <a:chExt cx="113704" cy="830466"/>
              </a:xfrm>
            </p:grpSpPr>
            <p:cxnSp>
              <p:nvCxnSpPr>
                <p:cNvPr id="224" name="Gerader Verbinder 223">
                  <a:extLst>
                    <a:ext uri="{FF2B5EF4-FFF2-40B4-BE49-F238E27FC236}">
                      <a16:creationId xmlns:a16="http://schemas.microsoft.com/office/drawing/2014/main" id="{0591CE69-E09E-4A61-9369-A709EF2970C3}"/>
                    </a:ext>
                  </a:extLst>
                </p:cNvPr>
                <p:cNvCxnSpPr/>
                <p:nvPr/>
              </p:nvCxnSpPr>
              <p:spPr>
                <a:xfrm flipH="1">
                  <a:off x="5339796" y="1597104"/>
                  <a:ext cx="95598" cy="82735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5" name="Gerader Verbinder 224">
                  <a:extLst>
                    <a:ext uri="{FF2B5EF4-FFF2-40B4-BE49-F238E27FC236}">
                      <a16:creationId xmlns:a16="http://schemas.microsoft.com/office/drawing/2014/main" id="{C49CCCB1-44BF-482A-900B-C4ED849D1D24}"/>
                    </a:ext>
                  </a:extLst>
                </p:cNvPr>
                <p:cNvCxnSpPr/>
                <p:nvPr/>
              </p:nvCxnSpPr>
              <p:spPr>
                <a:xfrm flipH="1">
                  <a:off x="5357902" y="2344835"/>
                  <a:ext cx="95598" cy="82735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26" name="Gruppieren 225">
                <a:extLst>
                  <a:ext uri="{FF2B5EF4-FFF2-40B4-BE49-F238E27FC236}">
                    <a16:creationId xmlns:a16="http://schemas.microsoft.com/office/drawing/2014/main" id="{A257EACC-AD94-4E36-A5D8-8FA9CCEEBCC0}"/>
                  </a:ext>
                </a:extLst>
              </p:cNvPr>
              <p:cNvGrpSpPr/>
              <p:nvPr/>
            </p:nvGrpSpPr>
            <p:grpSpPr>
              <a:xfrm>
                <a:off x="7930145" y="1597104"/>
                <a:ext cx="113704" cy="830466"/>
                <a:chOff x="5339796" y="1597104"/>
                <a:chExt cx="113704" cy="830466"/>
              </a:xfrm>
            </p:grpSpPr>
            <p:cxnSp>
              <p:nvCxnSpPr>
                <p:cNvPr id="227" name="Gerader Verbinder 226">
                  <a:extLst>
                    <a:ext uri="{FF2B5EF4-FFF2-40B4-BE49-F238E27FC236}">
                      <a16:creationId xmlns:a16="http://schemas.microsoft.com/office/drawing/2014/main" id="{2CC9BD59-244F-4CB1-B2CE-0EDA1D9A1F55}"/>
                    </a:ext>
                  </a:extLst>
                </p:cNvPr>
                <p:cNvCxnSpPr/>
                <p:nvPr/>
              </p:nvCxnSpPr>
              <p:spPr>
                <a:xfrm flipH="1">
                  <a:off x="5339796" y="1597104"/>
                  <a:ext cx="95598" cy="82735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8" name="Gerader Verbinder 227">
                  <a:extLst>
                    <a:ext uri="{FF2B5EF4-FFF2-40B4-BE49-F238E27FC236}">
                      <a16:creationId xmlns:a16="http://schemas.microsoft.com/office/drawing/2014/main" id="{2508B326-9547-4FB3-BB26-D9C3702DB2B9}"/>
                    </a:ext>
                  </a:extLst>
                </p:cNvPr>
                <p:cNvCxnSpPr/>
                <p:nvPr/>
              </p:nvCxnSpPr>
              <p:spPr>
                <a:xfrm flipH="1">
                  <a:off x="5357902" y="2344835"/>
                  <a:ext cx="95598" cy="82735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29" name="Gruppieren 228">
                <a:extLst>
                  <a:ext uri="{FF2B5EF4-FFF2-40B4-BE49-F238E27FC236}">
                    <a16:creationId xmlns:a16="http://schemas.microsoft.com/office/drawing/2014/main" id="{AC98EBA4-65B7-4EEA-801C-40D78BDCAA0E}"/>
                  </a:ext>
                </a:extLst>
              </p:cNvPr>
              <p:cNvGrpSpPr/>
              <p:nvPr/>
            </p:nvGrpSpPr>
            <p:grpSpPr>
              <a:xfrm>
                <a:off x="8564498" y="1597104"/>
                <a:ext cx="113704" cy="830466"/>
                <a:chOff x="5339796" y="1597104"/>
                <a:chExt cx="113704" cy="830466"/>
              </a:xfrm>
            </p:grpSpPr>
            <p:cxnSp>
              <p:nvCxnSpPr>
                <p:cNvPr id="230" name="Gerader Verbinder 229">
                  <a:extLst>
                    <a:ext uri="{FF2B5EF4-FFF2-40B4-BE49-F238E27FC236}">
                      <a16:creationId xmlns:a16="http://schemas.microsoft.com/office/drawing/2014/main" id="{5FAFA964-7376-4107-82AF-591595131350}"/>
                    </a:ext>
                  </a:extLst>
                </p:cNvPr>
                <p:cNvCxnSpPr/>
                <p:nvPr/>
              </p:nvCxnSpPr>
              <p:spPr>
                <a:xfrm flipH="1">
                  <a:off x="5339796" y="1597104"/>
                  <a:ext cx="95598" cy="82735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1" name="Gerader Verbinder 230">
                  <a:extLst>
                    <a:ext uri="{FF2B5EF4-FFF2-40B4-BE49-F238E27FC236}">
                      <a16:creationId xmlns:a16="http://schemas.microsoft.com/office/drawing/2014/main" id="{167D2A77-23CC-4077-897E-894EAA0DE1F9}"/>
                    </a:ext>
                  </a:extLst>
                </p:cNvPr>
                <p:cNvCxnSpPr/>
                <p:nvPr/>
              </p:nvCxnSpPr>
              <p:spPr>
                <a:xfrm flipH="1">
                  <a:off x="5357902" y="2344835"/>
                  <a:ext cx="95598" cy="82735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32" name="Gruppieren 231">
                <a:extLst>
                  <a:ext uri="{FF2B5EF4-FFF2-40B4-BE49-F238E27FC236}">
                    <a16:creationId xmlns:a16="http://schemas.microsoft.com/office/drawing/2014/main" id="{05893522-B532-4428-BBDC-9C75526FB5A5}"/>
                  </a:ext>
                </a:extLst>
              </p:cNvPr>
              <p:cNvGrpSpPr/>
              <p:nvPr/>
            </p:nvGrpSpPr>
            <p:grpSpPr>
              <a:xfrm>
                <a:off x="9223880" y="1597104"/>
                <a:ext cx="113704" cy="830466"/>
                <a:chOff x="5339796" y="1597104"/>
                <a:chExt cx="113704" cy="830466"/>
              </a:xfrm>
            </p:grpSpPr>
            <p:cxnSp>
              <p:nvCxnSpPr>
                <p:cNvPr id="233" name="Gerader Verbinder 232">
                  <a:extLst>
                    <a:ext uri="{FF2B5EF4-FFF2-40B4-BE49-F238E27FC236}">
                      <a16:creationId xmlns:a16="http://schemas.microsoft.com/office/drawing/2014/main" id="{0616CE10-82BF-427D-A93B-F732E25C9277}"/>
                    </a:ext>
                  </a:extLst>
                </p:cNvPr>
                <p:cNvCxnSpPr/>
                <p:nvPr/>
              </p:nvCxnSpPr>
              <p:spPr>
                <a:xfrm flipH="1">
                  <a:off x="5339796" y="1597104"/>
                  <a:ext cx="95598" cy="82735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4" name="Gerader Verbinder 233">
                  <a:extLst>
                    <a:ext uri="{FF2B5EF4-FFF2-40B4-BE49-F238E27FC236}">
                      <a16:creationId xmlns:a16="http://schemas.microsoft.com/office/drawing/2014/main" id="{1843E053-5E86-4703-9596-796FB6670CB7}"/>
                    </a:ext>
                  </a:extLst>
                </p:cNvPr>
                <p:cNvCxnSpPr/>
                <p:nvPr/>
              </p:nvCxnSpPr>
              <p:spPr>
                <a:xfrm flipH="1">
                  <a:off x="5357902" y="2344835"/>
                  <a:ext cx="95598" cy="82735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35" name="Gruppieren 234">
                <a:extLst>
                  <a:ext uri="{FF2B5EF4-FFF2-40B4-BE49-F238E27FC236}">
                    <a16:creationId xmlns:a16="http://schemas.microsoft.com/office/drawing/2014/main" id="{C0197C29-1AF8-4D19-AE5E-B72AEBF33E16}"/>
                  </a:ext>
                </a:extLst>
              </p:cNvPr>
              <p:cNvGrpSpPr/>
              <p:nvPr/>
            </p:nvGrpSpPr>
            <p:grpSpPr>
              <a:xfrm>
                <a:off x="9848624" y="1597104"/>
                <a:ext cx="113704" cy="830466"/>
                <a:chOff x="5339796" y="1597104"/>
                <a:chExt cx="113704" cy="830466"/>
              </a:xfrm>
            </p:grpSpPr>
            <p:cxnSp>
              <p:nvCxnSpPr>
                <p:cNvPr id="236" name="Gerader Verbinder 235">
                  <a:extLst>
                    <a:ext uri="{FF2B5EF4-FFF2-40B4-BE49-F238E27FC236}">
                      <a16:creationId xmlns:a16="http://schemas.microsoft.com/office/drawing/2014/main" id="{067B536C-E0FC-4D33-8D46-76F0B7C03AE0}"/>
                    </a:ext>
                  </a:extLst>
                </p:cNvPr>
                <p:cNvCxnSpPr/>
                <p:nvPr/>
              </p:nvCxnSpPr>
              <p:spPr>
                <a:xfrm flipH="1">
                  <a:off x="5339796" y="1597104"/>
                  <a:ext cx="95598" cy="82735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7" name="Gerader Verbinder 236">
                  <a:extLst>
                    <a:ext uri="{FF2B5EF4-FFF2-40B4-BE49-F238E27FC236}">
                      <a16:creationId xmlns:a16="http://schemas.microsoft.com/office/drawing/2014/main" id="{867194A9-15C9-4668-A358-C7779AE634E3}"/>
                    </a:ext>
                  </a:extLst>
                </p:cNvPr>
                <p:cNvCxnSpPr/>
                <p:nvPr/>
              </p:nvCxnSpPr>
              <p:spPr>
                <a:xfrm flipH="1">
                  <a:off x="5357902" y="2344835"/>
                  <a:ext cx="95598" cy="82735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38" name="Gruppieren 237">
                <a:extLst>
                  <a:ext uri="{FF2B5EF4-FFF2-40B4-BE49-F238E27FC236}">
                    <a16:creationId xmlns:a16="http://schemas.microsoft.com/office/drawing/2014/main" id="{9147E32F-756F-4990-BAC4-2E238E53A3B3}"/>
                  </a:ext>
                </a:extLst>
              </p:cNvPr>
              <p:cNvGrpSpPr/>
              <p:nvPr/>
            </p:nvGrpSpPr>
            <p:grpSpPr>
              <a:xfrm>
                <a:off x="10502461" y="1597104"/>
                <a:ext cx="113704" cy="830466"/>
                <a:chOff x="5339796" y="1597104"/>
                <a:chExt cx="113704" cy="830466"/>
              </a:xfrm>
            </p:grpSpPr>
            <p:cxnSp>
              <p:nvCxnSpPr>
                <p:cNvPr id="239" name="Gerader Verbinder 238">
                  <a:extLst>
                    <a:ext uri="{FF2B5EF4-FFF2-40B4-BE49-F238E27FC236}">
                      <a16:creationId xmlns:a16="http://schemas.microsoft.com/office/drawing/2014/main" id="{45CC01A3-7DD9-4650-8329-9080969CB56C}"/>
                    </a:ext>
                  </a:extLst>
                </p:cNvPr>
                <p:cNvCxnSpPr/>
                <p:nvPr/>
              </p:nvCxnSpPr>
              <p:spPr>
                <a:xfrm flipH="1">
                  <a:off x="5339796" y="1597104"/>
                  <a:ext cx="95598" cy="82735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0" name="Gerader Verbinder 239">
                  <a:extLst>
                    <a:ext uri="{FF2B5EF4-FFF2-40B4-BE49-F238E27FC236}">
                      <a16:creationId xmlns:a16="http://schemas.microsoft.com/office/drawing/2014/main" id="{F1439637-BF19-414A-843F-C86019381F16}"/>
                    </a:ext>
                  </a:extLst>
                </p:cNvPr>
                <p:cNvCxnSpPr/>
                <p:nvPr/>
              </p:nvCxnSpPr>
              <p:spPr>
                <a:xfrm flipH="1">
                  <a:off x="5357902" y="2344835"/>
                  <a:ext cx="95598" cy="82735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cxnSp>
          <p:nvCxnSpPr>
            <p:cNvPr id="378" name="Gerader Verbinder 377">
              <a:extLst>
                <a:ext uri="{FF2B5EF4-FFF2-40B4-BE49-F238E27FC236}">
                  <a16:creationId xmlns:a16="http://schemas.microsoft.com/office/drawing/2014/main" id="{8F7722FC-8543-4368-AD4E-A76DA8D27697}"/>
                </a:ext>
              </a:extLst>
            </p:cNvPr>
            <p:cNvCxnSpPr>
              <a:cxnSpLocks/>
            </p:cNvCxnSpPr>
            <p:nvPr/>
          </p:nvCxnSpPr>
          <p:spPr>
            <a:xfrm>
              <a:off x="4987748" y="1567515"/>
              <a:ext cx="5513792" cy="0"/>
            </a:xfrm>
            <a:prstGeom prst="line">
              <a:avLst/>
            </a:prstGeom>
            <a:ln>
              <a:solidFill>
                <a:srgbClr val="FFC000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1" name="Gerader Verbinder 380">
              <a:extLst>
                <a:ext uri="{FF2B5EF4-FFF2-40B4-BE49-F238E27FC236}">
                  <a16:creationId xmlns:a16="http://schemas.microsoft.com/office/drawing/2014/main" id="{04DF6C93-EBF9-4F30-A597-7D7BFA33D231}"/>
                </a:ext>
              </a:extLst>
            </p:cNvPr>
            <p:cNvCxnSpPr>
              <a:cxnSpLocks/>
            </p:cNvCxnSpPr>
            <p:nvPr/>
          </p:nvCxnSpPr>
          <p:spPr>
            <a:xfrm>
              <a:off x="4987748" y="3251460"/>
              <a:ext cx="5513793" cy="0"/>
            </a:xfrm>
            <a:prstGeom prst="line">
              <a:avLst/>
            </a:prstGeom>
            <a:ln>
              <a:solidFill>
                <a:srgbClr val="FFC000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82" name="Rechteck 381">
              <a:extLst>
                <a:ext uri="{FF2B5EF4-FFF2-40B4-BE49-F238E27FC236}">
                  <a16:creationId xmlns:a16="http://schemas.microsoft.com/office/drawing/2014/main" id="{347189EE-EBBA-49BB-9CB3-CCEF70E7FBD6}"/>
                </a:ext>
              </a:extLst>
            </p:cNvPr>
            <p:cNvSpPr/>
            <p:nvPr/>
          </p:nvSpPr>
          <p:spPr>
            <a:xfrm>
              <a:off x="4775725" y="1676514"/>
              <a:ext cx="210142" cy="1564657"/>
            </a:xfrm>
            <a:prstGeom prst="rect">
              <a:avLst/>
            </a:prstGeom>
            <a:solidFill>
              <a:srgbClr val="00549F"/>
            </a:solidFill>
            <a:ln>
              <a:solidFill>
                <a:srgbClr val="00549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cxnSp>
          <p:nvCxnSpPr>
            <p:cNvPr id="377" name="Gerader Verbinder 376">
              <a:extLst>
                <a:ext uri="{FF2B5EF4-FFF2-40B4-BE49-F238E27FC236}">
                  <a16:creationId xmlns:a16="http://schemas.microsoft.com/office/drawing/2014/main" id="{8D7BC8B6-ECD3-43B1-AB8D-71EB51F29A37}"/>
                </a:ext>
              </a:extLst>
            </p:cNvPr>
            <p:cNvCxnSpPr/>
            <p:nvPr/>
          </p:nvCxnSpPr>
          <p:spPr>
            <a:xfrm>
              <a:off x="4987748" y="1567515"/>
              <a:ext cx="0" cy="1683945"/>
            </a:xfrm>
            <a:prstGeom prst="line">
              <a:avLst/>
            </a:prstGeom>
            <a:ln>
              <a:solidFill>
                <a:srgbClr val="FFC000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83" name="Rechteck 382">
              <a:extLst>
                <a:ext uri="{FF2B5EF4-FFF2-40B4-BE49-F238E27FC236}">
                  <a16:creationId xmlns:a16="http://schemas.microsoft.com/office/drawing/2014/main" id="{0C0D2901-59E0-41CF-B408-2482DD9325C6}"/>
                </a:ext>
              </a:extLst>
            </p:cNvPr>
            <p:cNvSpPr/>
            <p:nvPr/>
          </p:nvSpPr>
          <p:spPr>
            <a:xfrm>
              <a:off x="10504976" y="1676514"/>
              <a:ext cx="210142" cy="1564657"/>
            </a:xfrm>
            <a:prstGeom prst="rect">
              <a:avLst/>
            </a:prstGeom>
            <a:solidFill>
              <a:srgbClr val="00549F"/>
            </a:solidFill>
            <a:ln>
              <a:solidFill>
                <a:srgbClr val="00549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cxnSp>
          <p:nvCxnSpPr>
            <p:cNvPr id="376" name="Gerader Verbinder 375">
              <a:extLst>
                <a:ext uri="{FF2B5EF4-FFF2-40B4-BE49-F238E27FC236}">
                  <a16:creationId xmlns:a16="http://schemas.microsoft.com/office/drawing/2014/main" id="{7107BF50-D9BE-4FB6-B0D7-911CAE4C3E42}"/>
                </a:ext>
              </a:extLst>
            </p:cNvPr>
            <p:cNvCxnSpPr/>
            <p:nvPr/>
          </p:nvCxnSpPr>
          <p:spPr>
            <a:xfrm>
              <a:off x="10501540" y="1567515"/>
              <a:ext cx="0" cy="1683945"/>
            </a:xfrm>
            <a:prstGeom prst="line">
              <a:avLst/>
            </a:prstGeom>
            <a:ln>
              <a:solidFill>
                <a:srgbClr val="FFC000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85" name="Rechteck 384">
            <a:extLst>
              <a:ext uri="{FF2B5EF4-FFF2-40B4-BE49-F238E27FC236}">
                <a16:creationId xmlns:a16="http://schemas.microsoft.com/office/drawing/2014/main" id="{E410C679-CFB7-46DD-AF5F-93A55D7E07E2}"/>
              </a:ext>
            </a:extLst>
          </p:cNvPr>
          <p:cNvSpPr/>
          <p:nvPr/>
        </p:nvSpPr>
        <p:spPr>
          <a:xfrm>
            <a:off x="298073" y="1030876"/>
            <a:ext cx="2265931" cy="471206"/>
          </a:xfrm>
          <a:prstGeom prst="rect">
            <a:avLst/>
          </a:prstGeom>
          <a:solidFill>
            <a:srgbClr val="8EBAE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endParaRPr lang="en-US" sz="1600" baseline="-25000" dirty="0">
              <a:solidFill>
                <a:srgbClr val="00549F"/>
              </a:solidFill>
            </a:endParaRPr>
          </a:p>
        </p:txBody>
      </p:sp>
      <p:cxnSp>
        <p:nvCxnSpPr>
          <p:cNvPr id="391" name="Gerader Verbinder 390">
            <a:extLst>
              <a:ext uri="{FF2B5EF4-FFF2-40B4-BE49-F238E27FC236}">
                <a16:creationId xmlns:a16="http://schemas.microsoft.com/office/drawing/2014/main" id="{14174CB4-026D-42D5-A59E-EADCAE1FF036}"/>
              </a:ext>
            </a:extLst>
          </p:cNvPr>
          <p:cNvCxnSpPr>
            <a:cxnSpLocks/>
          </p:cNvCxnSpPr>
          <p:nvPr/>
        </p:nvCxnSpPr>
        <p:spPr>
          <a:xfrm flipV="1">
            <a:off x="2209216" y="430741"/>
            <a:ext cx="2831239" cy="909148"/>
          </a:xfrm>
          <a:prstGeom prst="line">
            <a:avLst/>
          </a:prstGeom>
          <a:ln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3" name="Gerader Verbinder 392">
            <a:extLst>
              <a:ext uri="{FF2B5EF4-FFF2-40B4-BE49-F238E27FC236}">
                <a16:creationId xmlns:a16="http://schemas.microsoft.com/office/drawing/2014/main" id="{A1E89E41-D515-4EEC-A475-72FE15D7E626}"/>
              </a:ext>
            </a:extLst>
          </p:cNvPr>
          <p:cNvCxnSpPr>
            <a:cxnSpLocks/>
          </p:cNvCxnSpPr>
          <p:nvPr/>
        </p:nvCxnSpPr>
        <p:spPr>
          <a:xfrm>
            <a:off x="2224809" y="1689995"/>
            <a:ext cx="2847121" cy="1644518"/>
          </a:xfrm>
          <a:prstGeom prst="line">
            <a:avLst/>
          </a:prstGeom>
          <a:ln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5" name="Rechteck 394">
            <a:extLst>
              <a:ext uri="{FF2B5EF4-FFF2-40B4-BE49-F238E27FC236}">
                <a16:creationId xmlns:a16="http://schemas.microsoft.com/office/drawing/2014/main" id="{F7A55ED7-EFD0-44CC-9723-1BB305F49617}"/>
              </a:ext>
            </a:extLst>
          </p:cNvPr>
          <p:cNvSpPr/>
          <p:nvPr/>
        </p:nvSpPr>
        <p:spPr>
          <a:xfrm>
            <a:off x="5033598" y="2107375"/>
            <a:ext cx="5525715" cy="236705"/>
          </a:xfrm>
          <a:prstGeom prst="rect">
            <a:avLst/>
          </a:prstGeom>
          <a:solidFill>
            <a:srgbClr val="FFC000">
              <a:alpha val="1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1653" tIns="40827" rIns="81653" bIns="4082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>
                <a:solidFill>
                  <a:srgbClr val="FFC000"/>
                </a:solidFill>
              </a:rPr>
              <a:t>?	?	?	?	?	?</a:t>
            </a:r>
          </a:p>
        </p:txBody>
      </p:sp>
      <p:sp>
        <p:nvSpPr>
          <p:cNvPr id="403" name="Freihandform: Form 402">
            <a:extLst>
              <a:ext uri="{FF2B5EF4-FFF2-40B4-BE49-F238E27FC236}">
                <a16:creationId xmlns:a16="http://schemas.microsoft.com/office/drawing/2014/main" id="{8121143B-4445-4F9B-8831-D21FE53DF1F7}"/>
              </a:ext>
            </a:extLst>
          </p:cNvPr>
          <p:cNvSpPr/>
          <p:nvPr/>
        </p:nvSpPr>
        <p:spPr>
          <a:xfrm>
            <a:off x="2256183" y="427381"/>
            <a:ext cx="2782956" cy="2892287"/>
          </a:xfrm>
          <a:custGeom>
            <a:avLst/>
            <a:gdLst>
              <a:gd name="connsiteX0" fmla="*/ 19878 w 2782956"/>
              <a:gd name="connsiteY0" fmla="*/ 904461 h 2892287"/>
              <a:gd name="connsiteX1" fmla="*/ 2782956 w 2782956"/>
              <a:gd name="connsiteY1" fmla="*/ 0 h 2892287"/>
              <a:gd name="connsiteX2" fmla="*/ 2773017 w 2782956"/>
              <a:gd name="connsiteY2" fmla="*/ 2892287 h 2892287"/>
              <a:gd name="connsiteX3" fmla="*/ 0 w 2782956"/>
              <a:gd name="connsiteY3" fmla="*/ 1272209 h 2892287"/>
              <a:gd name="connsiteX4" fmla="*/ 129208 w 2782956"/>
              <a:gd name="connsiteY4" fmla="*/ 1192696 h 2892287"/>
              <a:gd name="connsiteX5" fmla="*/ 149087 w 2782956"/>
              <a:gd name="connsiteY5" fmla="*/ 1113183 h 2892287"/>
              <a:gd name="connsiteX6" fmla="*/ 149087 w 2782956"/>
              <a:gd name="connsiteY6" fmla="*/ 1033670 h 2892287"/>
              <a:gd name="connsiteX7" fmla="*/ 99391 w 2782956"/>
              <a:gd name="connsiteY7" fmla="*/ 993913 h 2892287"/>
              <a:gd name="connsiteX8" fmla="*/ 19878 w 2782956"/>
              <a:gd name="connsiteY8" fmla="*/ 904461 h 28922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782956" h="2892287">
                <a:moveTo>
                  <a:pt x="19878" y="904461"/>
                </a:moveTo>
                <a:lnTo>
                  <a:pt x="2782956" y="0"/>
                </a:lnTo>
                <a:lnTo>
                  <a:pt x="2773017" y="2892287"/>
                </a:lnTo>
                <a:lnTo>
                  <a:pt x="0" y="1272209"/>
                </a:lnTo>
                <a:lnTo>
                  <a:pt x="129208" y="1192696"/>
                </a:lnTo>
                <a:lnTo>
                  <a:pt x="149087" y="1113183"/>
                </a:lnTo>
                <a:lnTo>
                  <a:pt x="149087" y="1033670"/>
                </a:lnTo>
                <a:lnTo>
                  <a:pt x="99391" y="993913"/>
                </a:lnTo>
                <a:lnTo>
                  <a:pt x="19878" y="904461"/>
                </a:lnTo>
                <a:close/>
              </a:path>
            </a:pathLst>
          </a:custGeom>
          <a:solidFill>
            <a:srgbClr val="FFC000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242" name="Grafik 241" descr="Lupe">
            <a:extLst>
              <a:ext uri="{FF2B5EF4-FFF2-40B4-BE49-F238E27FC236}">
                <a16:creationId xmlns:a16="http://schemas.microsoft.com/office/drawing/2014/main" id="{E54CEFF0-5EBB-42F4-80EB-169B5A06498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 rot="5779642">
            <a:off x="1850270" y="1288083"/>
            <a:ext cx="606683" cy="606683"/>
          </a:xfrm>
          <a:prstGeom prst="rect">
            <a:avLst/>
          </a:prstGeom>
        </p:spPr>
      </p:pic>
      <p:sp>
        <p:nvSpPr>
          <p:cNvPr id="398" name="Textfeld 397">
            <a:extLst>
              <a:ext uri="{FF2B5EF4-FFF2-40B4-BE49-F238E27FC236}">
                <a16:creationId xmlns:a16="http://schemas.microsoft.com/office/drawing/2014/main" id="{7E87F788-BA53-42E0-8AB1-693B17EB45BC}"/>
              </a:ext>
            </a:extLst>
          </p:cNvPr>
          <p:cNvSpPr txBox="1"/>
          <p:nvPr/>
        </p:nvSpPr>
        <p:spPr>
          <a:xfrm>
            <a:off x="1186149" y="1592663"/>
            <a:ext cx="48977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200" dirty="0">
                <a:solidFill>
                  <a:schemeClr val="bg1"/>
                </a:solidFill>
                <a:latin typeface="+mn-lt"/>
              </a:rPr>
              <a:t>PC</a:t>
            </a:r>
            <a:endParaRPr lang="de-DE" sz="16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8" name="Textfeld 137">
            <a:extLst>
              <a:ext uri="{FF2B5EF4-FFF2-40B4-BE49-F238E27FC236}">
                <a16:creationId xmlns:a16="http://schemas.microsoft.com/office/drawing/2014/main" id="{0C18E011-DCD7-48C0-BA75-5A22EBC8D93B}"/>
              </a:ext>
            </a:extLst>
          </p:cNvPr>
          <p:cNvSpPr txBox="1"/>
          <p:nvPr/>
        </p:nvSpPr>
        <p:spPr>
          <a:xfrm>
            <a:off x="324881" y="1127979"/>
            <a:ext cx="221231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(Ti,Al)(O,N)</a:t>
            </a:r>
          </a:p>
        </p:txBody>
      </p:sp>
    </p:spTree>
    <p:extLst>
      <p:ext uri="{BB962C8B-B14F-4D97-AF65-F5344CB8AC3E}">
        <p14:creationId xmlns:p14="http://schemas.microsoft.com/office/powerpoint/2010/main" val="5624975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>
            <a:extLst>
              <a:ext uri="{FF2B5EF4-FFF2-40B4-BE49-F238E27FC236}">
                <a16:creationId xmlns:a16="http://schemas.microsoft.com/office/drawing/2014/main" id="{1403FAA0-A178-3EFA-00B3-FF41E531C83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1" name="think-cell Folie" r:id="rId4" imgW="425" imgH="424" progId="TCLayout.ActiveDocument.1">
                  <p:embed/>
                </p:oleObj>
              </mc:Choice>
              <mc:Fallback>
                <p:oleObj name="think-cell Folie" r:id="rId4" imgW="425" imgH="424" progId="TCLayout.ActiveDocument.1">
                  <p:embed/>
                  <p:pic>
                    <p:nvPicPr>
                      <p:cNvPr id="33" name="Objekt 32" hidden="1">
                        <a:extLst>
                          <a:ext uri="{FF2B5EF4-FFF2-40B4-BE49-F238E27FC236}">
                            <a16:creationId xmlns:a16="http://schemas.microsoft.com/office/drawing/2014/main" id="{1403FAA0-A178-3EFA-00B3-FF41E531C8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EE710A2-EA7B-8AA7-25E1-3D67C72A0B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ontext: Overview of projects on the interfacial bond formation with PC</a:t>
            </a: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3BA9F107-7551-6AE6-B522-E5AC7CEC1B29}"/>
              </a:ext>
            </a:extLst>
          </p:cNvPr>
          <p:cNvGrpSpPr/>
          <p:nvPr/>
        </p:nvGrpSpPr>
        <p:grpSpPr>
          <a:xfrm>
            <a:off x="539262" y="1724052"/>
            <a:ext cx="3024555" cy="3078739"/>
            <a:chOff x="539262" y="1535723"/>
            <a:chExt cx="3024555" cy="3078739"/>
          </a:xfrm>
        </p:grpSpPr>
        <p:sp>
          <p:nvSpPr>
            <p:cNvPr id="5" name="Rechteck 4">
              <a:extLst>
                <a:ext uri="{FF2B5EF4-FFF2-40B4-BE49-F238E27FC236}">
                  <a16:creationId xmlns:a16="http://schemas.microsoft.com/office/drawing/2014/main" id="{A0F32372-CE4A-1503-08EA-3B5BAD532C6E}"/>
                </a:ext>
              </a:extLst>
            </p:cNvPr>
            <p:cNvSpPr/>
            <p:nvPr/>
          </p:nvSpPr>
          <p:spPr>
            <a:xfrm>
              <a:off x="539262" y="1535723"/>
              <a:ext cx="3024554" cy="307873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6" name="Grafik 5">
              <a:extLst>
                <a:ext uri="{FF2B5EF4-FFF2-40B4-BE49-F238E27FC236}">
                  <a16:creationId xmlns:a16="http://schemas.microsoft.com/office/drawing/2014/main" id="{8F8F4787-9E23-4A44-EC2F-425485D8860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0811" y="3386102"/>
              <a:ext cx="2961456" cy="1184382"/>
            </a:xfrm>
            <a:prstGeom prst="rect">
              <a:avLst/>
            </a:prstGeom>
          </p:spPr>
        </p:pic>
        <p:sp>
          <p:nvSpPr>
            <p:cNvPr id="7" name="Rechteck 6">
              <a:extLst>
                <a:ext uri="{FF2B5EF4-FFF2-40B4-BE49-F238E27FC236}">
                  <a16:creationId xmlns:a16="http://schemas.microsoft.com/office/drawing/2014/main" id="{1EE5833A-E3B7-812B-255C-6D1FC153ECC6}"/>
                </a:ext>
              </a:extLst>
            </p:cNvPr>
            <p:cNvSpPr/>
            <p:nvPr/>
          </p:nvSpPr>
          <p:spPr>
            <a:xfrm>
              <a:off x="539262" y="1535723"/>
              <a:ext cx="3024554" cy="919386"/>
            </a:xfrm>
            <a:prstGeom prst="rect">
              <a:avLst/>
            </a:prstGeom>
            <a:solidFill>
              <a:srgbClr val="00B05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100" dirty="0">
                  <a:solidFill>
                    <a:schemeClr val="bg1"/>
                  </a:solidFill>
                </a:rPr>
                <a:t>Bond formation at polycarbonate | X interfaces (X = Ti, Al, TiAl) probed by X-ray photoelectron spectroscopy and density functional theory molecular dynamics simulations </a:t>
              </a:r>
            </a:p>
          </p:txBody>
        </p:sp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4916CFBA-B73D-9D32-BD60-5E19B8A6782C}"/>
                </a:ext>
              </a:extLst>
            </p:cNvPr>
            <p:cNvSpPr/>
            <p:nvPr/>
          </p:nvSpPr>
          <p:spPr>
            <a:xfrm>
              <a:off x="539262" y="2469861"/>
              <a:ext cx="3024555" cy="93871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100" dirty="0"/>
                <a:t>Lena Patterer*, Pavel Ondracka, Dimitri Bogdanovski, Leonie Jende, Stephan Prünte, Stanislav Mráz, Soheil Karimi Aghda, </a:t>
              </a:r>
              <a:br>
                <a:rPr lang="en-US" sz="1100" dirty="0"/>
              </a:br>
              <a:r>
                <a:rPr lang="en-US" sz="1100" dirty="0"/>
                <a:t>Bastian Stelzer, Markus Momma, </a:t>
              </a:r>
            </a:p>
            <a:p>
              <a:pPr algn="ctr"/>
              <a:r>
                <a:rPr lang="en-US" sz="1100" dirty="0"/>
                <a:t>Jochen M. Schneider </a:t>
              </a:r>
              <a:endParaRPr lang="en-US" sz="800" dirty="0">
                <a:solidFill>
                  <a:srgbClr val="000000"/>
                </a:solidFill>
                <a:effectLst/>
                <a:latin typeface="Helvetica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9" name="Rechteck 8">
            <a:extLst>
              <a:ext uri="{FF2B5EF4-FFF2-40B4-BE49-F238E27FC236}">
                <a16:creationId xmlns:a16="http://schemas.microsoft.com/office/drawing/2014/main" id="{3ED7ADC2-2BC0-08DF-F0D1-CD7C6621E7BE}"/>
              </a:ext>
            </a:extLst>
          </p:cNvPr>
          <p:cNvSpPr/>
          <p:nvPr/>
        </p:nvSpPr>
        <p:spPr>
          <a:xfrm>
            <a:off x="1387294" y="1207401"/>
            <a:ext cx="1328492" cy="39387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i="1" dirty="0">
                <a:solidFill>
                  <a:schemeClr val="tx1"/>
                </a:solidFill>
              </a:rPr>
              <a:t>Paper </a:t>
            </a:r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11DCD6EA-8C4B-EB59-32D8-346099BB9150}"/>
              </a:ext>
            </a:extLst>
          </p:cNvPr>
          <p:cNvGrpSpPr/>
          <p:nvPr/>
        </p:nvGrpSpPr>
        <p:grpSpPr>
          <a:xfrm>
            <a:off x="4018707" y="1724052"/>
            <a:ext cx="3024556" cy="3078739"/>
            <a:chOff x="7297615" y="269818"/>
            <a:chExt cx="3024556" cy="3078739"/>
          </a:xfrm>
        </p:grpSpPr>
        <p:grpSp>
          <p:nvGrpSpPr>
            <p:cNvPr id="11" name="Gruppieren 10">
              <a:extLst>
                <a:ext uri="{FF2B5EF4-FFF2-40B4-BE49-F238E27FC236}">
                  <a16:creationId xmlns:a16="http://schemas.microsoft.com/office/drawing/2014/main" id="{A0995EF2-D9B1-6D3D-5FB4-6F75519CB2FF}"/>
                </a:ext>
              </a:extLst>
            </p:cNvPr>
            <p:cNvGrpSpPr/>
            <p:nvPr/>
          </p:nvGrpSpPr>
          <p:grpSpPr>
            <a:xfrm>
              <a:off x="7297615" y="269818"/>
              <a:ext cx="3024556" cy="3078739"/>
              <a:chOff x="7297615" y="1535723"/>
              <a:chExt cx="3024556" cy="3078739"/>
            </a:xfrm>
          </p:grpSpPr>
          <p:sp>
            <p:nvSpPr>
              <p:cNvPr id="13" name="Rechteck 12">
                <a:extLst>
                  <a:ext uri="{FF2B5EF4-FFF2-40B4-BE49-F238E27FC236}">
                    <a16:creationId xmlns:a16="http://schemas.microsoft.com/office/drawing/2014/main" id="{60CDC9AA-01D5-140A-02F2-8B54B44CA51D}"/>
                  </a:ext>
                </a:extLst>
              </p:cNvPr>
              <p:cNvSpPr/>
              <p:nvPr/>
            </p:nvSpPr>
            <p:spPr>
              <a:xfrm>
                <a:off x="7297616" y="1535723"/>
                <a:ext cx="3024554" cy="3078739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" name="Rechteck 13">
                <a:extLst>
                  <a:ext uri="{FF2B5EF4-FFF2-40B4-BE49-F238E27FC236}">
                    <a16:creationId xmlns:a16="http://schemas.microsoft.com/office/drawing/2014/main" id="{76896423-C29B-E8FF-2272-0889158759F2}"/>
                  </a:ext>
                </a:extLst>
              </p:cNvPr>
              <p:cNvSpPr/>
              <p:nvPr/>
            </p:nvSpPr>
            <p:spPr>
              <a:xfrm>
                <a:off x="7297617" y="1535723"/>
                <a:ext cx="3024554" cy="934138"/>
              </a:xfrm>
              <a:prstGeom prst="rect">
                <a:avLst/>
              </a:prstGeom>
              <a:solidFill>
                <a:schemeClr val="accent3">
                  <a:lumMod val="40000"/>
                  <a:lumOff val="6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0" rIns="36000" bIns="0" rtlCol="0" anchor="ctr"/>
              <a:lstStyle/>
              <a:p>
                <a:pPr algn="ctr"/>
                <a:r>
                  <a:rPr lang="en-US" sz="1200" dirty="0">
                    <a:solidFill>
                      <a:schemeClr val="tx1"/>
                    </a:solidFill>
                  </a:rPr>
                  <a:t>Correlative theoretical and experimental study of the PC | X interfacial bond formation (X = TiN, AlN, TiAlN) during DC magnetron sputtering</a:t>
                </a:r>
              </a:p>
            </p:txBody>
          </p:sp>
          <p:sp>
            <p:nvSpPr>
              <p:cNvPr id="15" name="Rechteck 14">
                <a:extLst>
                  <a:ext uri="{FF2B5EF4-FFF2-40B4-BE49-F238E27FC236}">
                    <a16:creationId xmlns:a16="http://schemas.microsoft.com/office/drawing/2014/main" id="{F901ED62-6C8A-FD7F-C545-8C01072A010C}"/>
                  </a:ext>
                </a:extLst>
              </p:cNvPr>
              <p:cNvSpPr/>
              <p:nvPr/>
            </p:nvSpPr>
            <p:spPr>
              <a:xfrm>
                <a:off x="7297615" y="2566683"/>
                <a:ext cx="3024555" cy="76944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>
                  <a:spcAft>
                    <a:spcPts val="800"/>
                  </a:spcAft>
                </a:pPr>
                <a:r>
                  <a:rPr lang="en-US" sz="1100" dirty="0"/>
                  <a:t>Lena Patterer*, Pavel Ondračka, </a:t>
                </a:r>
                <a:br>
                  <a:rPr lang="en-US" sz="1100" dirty="0"/>
                </a:br>
                <a:r>
                  <a:rPr lang="en-US" sz="1100" dirty="0"/>
                  <a:t>Dimitri Bogdanovski, Stanislav Mráz, </a:t>
                </a:r>
                <a:br>
                  <a:rPr lang="en-US" sz="1100" dirty="0"/>
                </a:br>
                <a:r>
                  <a:rPr lang="en-US" sz="1100" dirty="0"/>
                  <a:t>Soheil Karimi Aghda, Peter Pöllmann, </a:t>
                </a:r>
                <a:br>
                  <a:rPr lang="en-US" sz="1100" dirty="0"/>
                </a:br>
                <a:r>
                  <a:rPr lang="en-US" sz="1100" dirty="0"/>
                  <a:t>Yu-Ping Chien, Jochen M. Schneider</a:t>
                </a:r>
                <a:endParaRPr lang="en-US" sz="1100" dirty="0">
                  <a:solidFill>
                    <a:srgbClr val="000000"/>
                  </a:solidFill>
                  <a:effectLst/>
                  <a:latin typeface="Helvetica" panose="020B0604020202020204" pitchFamily="34" charset="0"/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</p:txBody>
          </p:sp>
        </p:grpSp>
        <p:pic>
          <p:nvPicPr>
            <p:cNvPr id="12" name="Grafik 11">
              <a:extLst>
                <a:ext uri="{FF2B5EF4-FFF2-40B4-BE49-F238E27FC236}">
                  <a16:creationId xmlns:a16="http://schemas.microsoft.com/office/drawing/2014/main" id="{F687C7E6-C6E9-2655-9C3A-0786FA329CC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397391" y="2154465"/>
              <a:ext cx="2825002" cy="1087365"/>
            </a:xfrm>
            <a:prstGeom prst="rect">
              <a:avLst/>
            </a:prstGeom>
          </p:spPr>
        </p:pic>
      </p:grpSp>
      <p:sp>
        <p:nvSpPr>
          <p:cNvPr id="16" name="Rechteck 15">
            <a:extLst>
              <a:ext uri="{FF2B5EF4-FFF2-40B4-BE49-F238E27FC236}">
                <a16:creationId xmlns:a16="http://schemas.microsoft.com/office/drawing/2014/main" id="{B5E8A587-D8CE-05FA-BB40-63B0312A6628}"/>
              </a:ext>
            </a:extLst>
          </p:cNvPr>
          <p:cNvSpPr/>
          <p:nvPr/>
        </p:nvSpPr>
        <p:spPr>
          <a:xfrm>
            <a:off x="4648500" y="1207401"/>
            <a:ext cx="1764970" cy="39387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i="1" dirty="0">
                <a:solidFill>
                  <a:schemeClr val="tx1"/>
                </a:solidFill>
              </a:rPr>
              <a:t>Manuscript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22132DC2-E989-4E2B-96FC-A36D96D7098A}"/>
              </a:ext>
            </a:extLst>
          </p:cNvPr>
          <p:cNvSpPr/>
          <p:nvPr/>
        </p:nvSpPr>
        <p:spPr>
          <a:xfrm>
            <a:off x="7704995" y="1207401"/>
            <a:ext cx="2451273" cy="39387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i="1" dirty="0">
                <a:solidFill>
                  <a:schemeClr val="tx1"/>
                </a:solidFill>
              </a:rPr>
              <a:t>Analysis of data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836E5975-6A05-C55F-F3EC-199F6AC2234D}"/>
              </a:ext>
            </a:extLst>
          </p:cNvPr>
          <p:cNvSpPr/>
          <p:nvPr/>
        </p:nvSpPr>
        <p:spPr>
          <a:xfrm>
            <a:off x="1387294" y="5011852"/>
            <a:ext cx="1328492" cy="39387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</a:rPr>
              <a:t>Metal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AE70D152-ED6D-0582-8BC0-A60308C709A1}"/>
              </a:ext>
            </a:extLst>
          </p:cNvPr>
          <p:cNvSpPr/>
          <p:nvPr/>
        </p:nvSpPr>
        <p:spPr>
          <a:xfrm>
            <a:off x="4750100" y="5011852"/>
            <a:ext cx="1561770" cy="39387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</a:rPr>
              <a:t>Metal nitride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921EA400-8D05-6EA5-2821-9A213F1728B9}"/>
              </a:ext>
            </a:extLst>
          </p:cNvPr>
          <p:cNvSpPr/>
          <p:nvPr/>
        </p:nvSpPr>
        <p:spPr>
          <a:xfrm>
            <a:off x="8212556" y="5011852"/>
            <a:ext cx="1561770" cy="39387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</a:rPr>
              <a:t>Metal oxide</a:t>
            </a: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BBA5BDDE-09E2-318C-515B-062DA53184DF}"/>
              </a:ext>
            </a:extLst>
          </p:cNvPr>
          <p:cNvSpPr/>
          <p:nvPr/>
        </p:nvSpPr>
        <p:spPr>
          <a:xfrm>
            <a:off x="1387294" y="5453659"/>
            <a:ext cx="1328492" cy="39387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>
                <a:solidFill>
                  <a:schemeClr val="tx1"/>
                </a:solidFill>
              </a:rPr>
              <a:t>Ti, Al, TiAl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80E0EBB2-9520-CA1A-E36F-875F889A0001}"/>
              </a:ext>
            </a:extLst>
          </p:cNvPr>
          <p:cNvSpPr/>
          <p:nvPr/>
        </p:nvSpPr>
        <p:spPr>
          <a:xfrm>
            <a:off x="4666973" y="5453659"/>
            <a:ext cx="1728025" cy="39387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>
                <a:solidFill>
                  <a:schemeClr val="tx1"/>
                </a:solidFill>
              </a:rPr>
              <a:t>TiN, AlN, TiAlN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EF8F19E3-FF39-4BCC-1794-9C3139A8649C}"/>
              </a:ext>
            </a:extLst>
          </p:cNvPr>
          <p:cNvSpPr/>
          <p:nvPr/>
        </p:nvSpPr>
        <p:spPr>
          <a:xfrm>
            <a:off x="7742487" y="5453659"/>
            <a:ext cx="2376289" cy="39387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>
                <a:solidFill>
                  <a:schemeClr val="tx1"/>
                </a:solidFill>
              </a:rPr>
              <a:t>TiO</a:t>
            </a:r>
            <a:r>
              <a:rPr lang="en-US" sz="1400" i="1" baseline="-25000" dirty="0">
                <a:solidFill>
                  <a:schemeClr val="tx1"/>
                </a:solidFill>
              </a:rPr>
              <a:t>2</a:t>
            </a:r>
            <a:r>
              <a:rPr lang="en-US" sz="1400" i="1" dirty="0">
                <a:solidFill>
                  <a:schemeClr val="tx1"/>
                </a:solidFill>
              </a:rPr>
              <a:t>, Al</a:t>
            </a:r>
            <a:r>
              <a:rPr lang="en-US" sz="1400" i="1" baseline="-25000" dirty="0">
                <a:solidFill>
                  <a:schemeClr val="tx1"/>
                </a:solidFill>
              </a:rPr>
              <a:t>2</a:t>
            </a:r>
            <a:r>
              <a:rPr lang="en-US" sz="1400" i="1" dirty="0">
                <a:solidFill>
                  <a:schemeClr val="tx1"/>
                </a:solidFill>
              </a:rPr>
              <a:t>O</a:t>
            </a:r>
            <a:r>
              <a:rPr lang="en-US" sz="1400" i="1" baseline="-25000" dirty="0">
                <a:solidFill>
                  <a:schemeClr val="tx1"/>
                </a:solidFill>
              </a:rPr>
              <a:t>3</a:t>
            </a:r>
            <a:r>
              <a:rPr lang="en-US" sz="1400" i="1" dirty="0">
                <a:solidFill>
                  <a:schemeClr val="tx1"/>
                </a:solidFill>
              </a:rPr>
              <a:t>, (Ti,Al)O</a:t>
            </a:r>
            <a:endParaRPr lang="en-US" sz="1400" i="1" baseline="-25000" dirty="0">
              <a:solidFill>
                <a:schemeClr val="tx1"/>
              </a:solidFill>
            </a:endParaRPr>
          </a:p>
        </p:txBody>
      </p:sp>
      <p:grpSp>
        <p:nvGrpSpPr>
          <p:cNvPr id="31" name="Gruppieren 30">
            <a:extLst>
              <a:ext uri="{FF2B5EF4-FFF2-40B4-BE49-F238E27FC236}">
                <a16:creationId xmlns:a16="http://schemas.microsoft.com/office/drawing/2014/main" id="{6B29D285-E5DA-2CCD-4FDC-0EFD40EBB3FD}"/>
              </a:ext>
            </a:extLst>
          </p:cNvPr>
          <p:cNvGrpSpPr/>
          <p:nvPr/>
        </p:nvGrpSpPr>
        <p:grpSpPr>
          <a:xfrm>
            <a:off x="7418354" y="1724051"/>
            <a:ext cx="3024555" cy="3078741"/>
            <a:chOff x="5608026" y="3558790"/>
            <a:chExt cx="3024555" cy="3078741"/>
          </a:xfrm>
        </p:grpSpPr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85DA6505-C2E2-0F33-268C-ECC80540A278}"/>
                </a:ext>
              </a:extLst>
            </p:cNvPr>
            <p:cNvGrpSpPr/>
            <p:nvPr/>
          </p:nvGrpSpPr>
          <p:grpSpPr>
            <a:xfrm>
              <a:off x="5608026" y="3558790"/>
              <a:ext cx="3024555" cy="3078741"/>
              <a:chOff x="3918438" y="1586502"/>
              <a:chExt cx="3024555" cy="3130866"/>
            </a:xfrm>
          </p:grpSpPr>
          <p:sp>
            <p:nvSpPr>
              <p:cNvPr id="36" name="Rechteck 35">
                <a:extLst>
                  <a:ext uri="{FF2B5EF4-FFF2-40B4-BE49-F238E27FC236}">
                    <a16:creationId xmlns:a16="http://schemas.microsoft.com/office/drawing/2014/main" id="{198F3AAF-3D32-972B-EE5B-8CCAF483BA25}"/>
                  </a:ext>
                </a:extLst>
              </p:cNvPr>
              <p:cNvSpPr/>
              <p:nvPr/>
            </p:nvSpPr>
            <p:spPr>
              <a:xfrm>
                <a:off x="3918439" y="1586503"/>
                <a:ext cx="3024554" cy="3130865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7" name="Rechteck 36">
                <a:extLst>
                  <a:ext uri="{FF2B5EF4-FFF2-40B4-BE49-F238E27FC236}">
                    <a16:creationId xmlns:a16="http://schemas.microsoft.com/office/drawing/2014/main" id="{121E1490-7972-FC7F-2590-BFC97B57ED7D}"/>
                  </a:ext>
                </a:extLst>
              </p:cNvPr>
              <p:cNvSpPr/>
              <p:nvPr/>
            </p:nvSpPr>
            <p:spPr>
              <a:xfrm>
                <a:off x="3918438" y="2629391"/>
                <a:ext cx="3024555" cy="61032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>
                  <a:spcAft>
                    <a:spcPts val="800"/>
                  </a:spcAft>
                </a:pPr>
                <a:r>
                  <a:rPr lang="en-US" sz="1100" dirty="0">
                    <a:solidFill>
                      <a:srgbClr val="000000"/>
                    </a:solidFill>
                    <a:effectLst/>
                    <a:latin typeface="Arial" panose="020B0604020202020204" pitchFamily="34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Lena Patterer</a:t>
                </a:r>
                <a:r>
                  <a:rPr lang="en-US" sz="1100" baseline="30000" dirty="0">
                    <a:solidFill>
                      <a:srgbClr val="000000"/>
                    </a:solidFill>
                    <a:effectLst/>
                    <a:latin typeface="Arial" panose="020B0604020202020204" pitchFamily="34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1</a:t>
                </a:r>
                <a:r>
                  <a:rPr lang="en-US" sz="1100" dirty="0">
                    <a:solidFill>
                      <a:srgbClr val="000000"/>
                    </a:solidFill>
                    <a:effectLst/>
                    <a:latin typeface="Arial" panose="020B0604020202020204" pitchFamily="34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*, Pavel Ondračka</a:t>
                </a:r>
                <a:r>
                  <a:rPr lang="en-US" sz="1100" baseline="30000" dirty="0">
                    <a:solidFill>
                      <a:srgbClr val="000000"/>
                    </a:solidFill>
                    <a:effectLst/>
                    <a:latin typeface="Arial" panose="020B0604020202020204" pitchFamily="34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2</a:t>
                </a:r>
                <a:r>
                  <a:rPr lang="en-US" sz="1100" dirty="0">
                    <a:solidFill>
                      <a:srgbClr val="000000"/>
                    </a:solidFill>
                    <a:effectLst/>
                    <a:latin typeface="Arial" panose="020B0604020202020204" pitchFamily="34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, Dimitri Bogdanovski</a:t>
                </a:r>
                <a:r>
                  <a:rPr lang="en-US" sz="1100" baseline="30000" dirty="0">
                    <a:solidFill>
                      <a:srgbClr val="000000"/>
                    </a:solidFill>
                    <a:effectLst/>
                    <a:latin typeface="Arial" panose="020B0604020202020204" pitchFamily="34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1</a:t>
                </a:r>
                <a:r>
                  <a:rPr lang="en-US" sz="1100" dirty="0">
                    <a:solidFill>
                      <a:srgbClr val="000000"/>
                    </a:solidFill>
                    <a:effectLst/>
                    <a:latin typeface="Arial" panose="020B0604020202020204" pitchFamily="34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, Stanislav Mráz</a:t>
                </a:r>
                <a:r>
                  <a:rPr lang="en-US" sz="1100" baseline="30000" dirty="0">
                    <a:solidFill>
                      <a:srgbClr val="000000"/>
                    </a:solidFill>
                    <a:effectLst/>
                    <a:latin typeface="Arial" panose="020B0604020202020204" pitchFamily="34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1</a:t>
                </a:r>
                <a:r>
                  <a:rPr lang="en-US" sz="1100" dirty="0">
                    <a:solidFill>
                      <a:srgbClr val="000000"/>
                    </a:solidFill>
                    <a:effectLst/>
                    <a:latin typeface="Arial" panose="020B0604020202020204" pitchFamily="34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, Soheil Karimi Aghda</a:t>
                </a:r>
                <a:r>
                  <a:rPr lang="en-US" sz="1100" baseline="30000" dirty="0">
                    <a:solidFill>
                      <a:srgbClr val="000000"/>
                    </a:solidFill>
                    <a:effectLst/>
                    <a:latin typeface="Arial" panose="020B0604020202020204" pitchFamily="34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1</a:t>
                </a:r>
                <a:r>
                  <a:rPr lang="en-US" sz="1100" dirty="0">
                    <a:solidFill>
                      <a:srgbClr val="000000"/>
                    </a:solidFill>
                    <a:effectLst/>
                    <a:latin typeface="Arial" panose="020B0604020202020204" pitchFamily="34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, Jochen M. Schneider</a:t>
                </a:r>
                <a:r>
                  <a:rPr lang="en-US" sz="1100" baseline="30000" dirty="0">
                    <a:solidFill>
                      <a:srgbClr val="000000"/>
                    </a:solidFill>
                    <a:effectLst/>
                    <a:latin typeface="Arial" panose="020B0604020202020204" pitchFamily="34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1</a:t>
                </a:r>
                <a:endParaRPr lang="en-US" sz="1100" dirty="0">
                  <a:solidFill>
                    <a:srgbClr val="000000"/>
                  </a:solidFill>
                  <a:effectLst/>
                  <a:latin typeface="Helvetica" panose="020B0604020202020204" pitchFamily="34" charset="0"/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8" name="Rechteck 37">
                <a:extLst>
                  <a:ext uri="{FF2B5EF4-FFF2-40B4-BE49-F238E27FC236}">
                    <a16:creationId xmlns:a16="http://schemas.microsoft.com/office/drawing/2014/main" id="{A1FE5280-219C-2C8F-343F-BBD47A1C1379}"/>
                  </a:ext>
                </a:extLst>
              </p:cNvPr>
              <p:cNvSpPr/>
              <p:nvPr/>
            </p:nvSpPr>
            <p:spPr>
              <a:xfrm>
                <a:off x="3918438" y="1586502"/>
                <a:ext cx="3024554" cy="934952"/>
              </a:xfrm>
              <a:prstGeom prst="rect">
                <a:avLst/>
              </a:prstGeom>
              <a:solidFill>
                <a:srgbClr val="FEC50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200" dirty="0">
                    <a:solidFill>
                      <a:schemeClr val="tx1"/>
                    </a:solidFill>
                  </a:rPr>
                  <a:t>Theoretical and experimental bond formation at polycarbonate | X interfaces (X = TiO</a:t>
                </a:r>
                <a:r>
                  <a:rPr lang="en-US" sz="1200" baseline="-25000" dirty="0">
                    <a:solidFill>
                      <a:schemeClr val="tx1"/>
                    </a:solidFill>
                  </a:rPr>
                  <a:t>2</a:t>
                </a:r>
                <a:r>
                  <a:rPr lang="en-US" sz="1200" dirty="0">
                    <a:solidFill>
                      <a:schemeClr val="tx1"/>
                    </a:solidFill>
                  </a:rPr>
                  <a:t>, Al</a:t>
                </a:r>
                <a:r>
                  <a:rPr lang="en-US" sz="1200" baseline="-25000" dirty="0">
                    <a:solidFill>
                      <a:schemeClr val="tx1"/>
                    </a:solidFill>
                  </a:rPr>
                  <a:t>2</a:t>
                </a:r>
                <a:r>
                  <a:rPr lang="en-US" sz="1200" dirty="0">
                    <a:solidFill>
                      <a:schemeClr val="tx1"/>
                    </a:solidFill>
                  </a:rPr>
                  <a:t>O</a:t>
                </a:r>
                <a:r>
                  <a:rPr lang="en-US" sz="1200" baseline="-25000" dirty="0">
                    <a:solidFill>
                      <a:schemeClr val="tx1"/>
                    </a:solidFill>
                  </a:rPr>
                  <a:t>3,</a:t>
                </a:r>
                <a:r>
                  <a:rPr lang="en-US" sz="1200" dirty="0">
                    <a:solidFill>
                      <a:schemeClr val="tx1"/>
                    </a:solidFill>
                  </a:rPr>
                  <a:t> (Ti,Al)O) </a:t>
                </a:r>
              </a:p>
            </p:txBody>
          </p:sp>
          <p:sp>
            <p:nvSpPr>
              <p:cNvPr id="39" name="Textfeld 38">
                <a:extLst>
                  <a:ext uri="{FF2B5EF4-FFF2-40B4-BE49-F238E27FC236}">
                    <a16:creationId xmlns:a16="http://schemas.microsoft.com/office/drawing/2014/main" id="{AAC587DC-1D15-B84F-C516-C7C9FA7CECE4}"/>
                  </a:ext>
                </a:extLst>
              </p:cNvPr>
              <p:cNvSpPr txBox="1"/>
              <p:nvPr/>
            </p:nvSpPr>
            <p:spPr>
              <a:xfrm>
                <a:off x="5493525" y="4089081"/>
                <a:ext cx="1095172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400" dirty="0">
                    <a:solidFill>
                      <a:schemeClr val="bg1"/>
                    </a:solidFill>
                  </a:rPr>
                  <a:t>&lt; 1% pores</a:t>
                </a:r>
              </a:p>
            </p:txBody>
          </p:sp>
        </p:grpSp>
        <p:pic>
          <p:nvPicPr>
            <p:cNvPr id="34" name="Grafik 33">
              <a:extLst>
                <a:ext uri="{FF2B5EF4-FFF2-40B4-BE49-F238E27FC236}">
                  <a16:creationId xmlns:a16="http://schemas.microsoft.com/office/drawing/2014/main" id="{82C69715-99A3-E910-7B70-8DF5C62E1EC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8021" t="15189" r="40834" b="30242"/>
            <a:stretch/>
          </p:blipFill>
          <p:spPr>
            <a:xfrm>
              <a:off x="5893834" y="5430024"/>
              <a:ext cx="1089536" cy="1080000"/>
            </a:xfrm>
            <a:prstGeom prst="ellipse">
              <a:avLst/>
            </a:prstGeom>
            <a:noFill/>
            <a:ln w="25400">
              <a:solidFill>
                <a:schemeClr val="tx1"/>
              </a:solidFill>
            </a:ln>
          </p:spPr>
        </p:pic>
        <p:pic>
          <p:nvPicPr>
            <p:cNvPr id="35" name="Grafik 34">
              <a:extLst>
                <a:ext uri="{FF2B5EF4-FFF2-40B4-BE49-F238E27FC236}">
                  <a16:creationId xmlns:a16="http://schemas.microsoft.com/office/drawing/2014/main" id="{C2A3517C-9680-C92D-457A-6E232FAC460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7219" t="9308" r="3665" b="15203"/>
            <a:stretch/>
          </p:blipFill>
          <p:spPr>
            <a:xfrm>
              <a:off x="7287187" y="5430024"/>
              <a:ext cx="1084608" cy="1080000"/>
            </a:xfrm>
            <a:prstGeom prst="ellipse">
              <a:avLst/>
            </a:prstGeom>
            <a:noFill/>
            <a:ln w="25400">
              <a:solidFill>
                <a:schemeClr val="tx1"/>
              </a:solidFill>
            </a:ln>
          </p:spPr>
        </p:pic>
      </p:grpSp>
    </p:spTree>
    <p:extLst>
      <p:ext uri="{BB962C8B-B14F-4D97-AF65-F5344CB8AC3E}">
        <p14:creationId xmlns:p14="http://schemas.microsoft.com/office/powerpoint/2010/main" val="1461630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kt 16" hidden="1">
            <a:extLst>
              <a:ext uri="{FF2B5EF4-FFF2-40B4-BE49-F238E27FC236}">
                <a16:creationId xmlns:a16="http://schemas.microsoft.com/office/drawing/2014/main" id="{30AE123D-7E24-30E8-A823-F4FE6AAA8EA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5" name="think-cell Folie" r:id="rId4" imgW="425" imgH="424" progId="TCLayout.ActiveDocument.1">
                  <p:embed/>
                </p:oleObj>
              </mc:Choice>
              <mc:Fallback>
                <p:oleObj name="think-cell Folie" r:id="rId4" imgW="425" imgH="424" progId="TCLayout.ActiveDocument.1">
                  <p:embed/>
                  <p:pic>
                    <p:nvPicPr>
                      <p:cNvPr id="17" name="Objekt 16" hidden="1">
                        <a:extLst>
                          <a:ext uri="{FF2B5EF4-FFF2-40B4-BE49-F238E27FC236}">
                            <a16:creationId xmlns:a16="http://schemas.microsoft.com/office/drawing/2014/main" id="{30AE123D-7E24-30E8-A823-F4FE6AAA8E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339137BF-5FB7-CA4E-FA2B-BBDDCF38C1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Binding energies for interacting PC dimer are calculated </a:t>
            </a:r>
          </a:p>
        </p:txBody>
      </p:sp>
      <p:pic>
        <p:nvPicPr>
          <p:cNvPr id="4" name="Picture 4">
            <a:extLst>
              <a:ext uri="{FF2B5EF4-FFF2-40B4-BE49-F238E27FC236}">
                <a16:creationId xmlns:a16="http://schemas.microsoft.com/office/drawing/2014/main" id="{6E08EC21-49DE-570B-AADE-E66FA474348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3391" y="2297149"/>
            <a:ext cx="3446231" cy="2263701"/>
          </a:xfrm>
          <a:prstGeom prst="rect">
            <a:avLst/>
          </a:prstGeom>
          <a:solidFill>
            <a:srgbClr val="FFFFFF"/>
          </a:solidFill>
          <a:ln w="6350">
            <a:solidFill>
              <a:srgbClr val="000000"/>
            </a:solidFill>
            <a:miter lim="800000"/>
            <a:headEnd/>
            <a:tailEnd/>
          </a:ln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0511EC23-EF69-A144-BF14-A179F84435F9}"/>
              </a:ext>
            </a:extLst>
          </p:cNvPr>
          <p:cNvSpPr txBox="1"/>
          <p:nvPr/>
        </p:nvSpPr>
        <p:spPr>
          <a:xfrm>
            <a:off x="427589" y="4788841"/>
            <a:ext cx="379783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dirty="0">
                <a:latin typeface="+mj-lt"/>
              </a:rPr>
              <a:t>Selected configuration of MD simulation</a:t>
            </a:r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09AA9953-6C69-8D7C-9203-C0A576AC0DF8}"/>
              </a:ext>
            </a:extLst>
          </p:cNvPr>
          <p:cNvGrpSpPr/>
          <p:nvPr/>
        </p:nvGrpSpPr>
        <p:grpSpPr>
          <a:xfrm>
            <a:off x="5105515" y="912652"/>
            <a:ext cx="4483916" cy="5058223"/>
            <a:chOff x="5612407" y="912652"/>
            <a:chExt cx="4483916" cy="5058223"/>
          </a:xfrm>
        </p:grpSpPr>
        <p:pic>
          <p:nvPicPr>
            <p:cNvPr id="7" name="Grafik 6">
              <a:extLst>
                <a:ext uri="{FF2B5EF4-FFF2-40B4-BE49-F238E27FC236}">
                  <a16:creationId xmlns:a16="http://schemas.microsoft.com/office/drawing/2014/main" id="{C9C3A2D1-DA4C-E538-568D-899BE60F1E5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43225"/>
            <a:stretch/>
          </p:blipFill>
          <p:spPr>
            <a:xfrm>
              <a:off x="5612407" y="2077230"/>
              <a:ext cx="4483916" cy="3893645"/>
            </a:xfrm>
            <a:prstGeom prst="rect">
              <a:avLst/>
            </a:prstGeom>
          </p:spPr>
        </p:pic>
        <p:pic>
          <p:nvPicPr>
            <p:cNvPr id="8" name="Grafik 7">
              <a:extLst>
                <a:ext uri="{FF2B5EF4-FFF2-40B4-BE49-F238E27FC236}">
                  <a16:creationId xmlns:a16="http://schemas.microsoft.com/office/drawing/2014/main" id="{67A2FCF4-5685-CCEF-2A77-E33DE473AD9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194" b="80826"/>
            <a:stretch/>
          </p:blipFill>
          <p:spPr>
            <a:xfrm>
              <a:off x="5612407" y="912652"/>
              <a:ext cx="4483916" cy="1164494"/>
            </a:xfrm>
            <a:prstGeom prst="rect">
              <a:avLst/>
            </a:prstGeom>
          </p:spPr>
        </p:pic>
      </p:grp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E67FED06-4DEE-038F-1566-954923606DCC}"/>
              </a:ext>
            </a:extLst>
          </p:cNvPr>
          <p:cNvCxnSpPr>
            <a:cxnSpLocks/>
          </p:cNvCxnSpPr>
          <p:nvPr/>
        </p:nvCxnSpPr>
        <p:spPr>
          <a:xfrm>
            <a:off x="6515424" y="3369365"/>
            <a:ext cx="485451" cy="0"/>
          </a:xfrm>
          <a:prstGeom prst="straightConnector1">
            <a:avLst/>
          </a:prstGeom>
          <a:ln>
            <a:solidFill>
              <a:srgbClr val="F7BDF7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mit Pfeil 9">
            <a:extLst>
              <a:ext uri="{FF2B5EF4-FFF2-40B4-BE49-F238E27FC236}">
                <a16:creationId xmlns:a16="http://schemas.microsoft.com/office/drawing/2014/main" id="{3C854084-1F83-30BE-B49D-72393CF27329}"/>
              </a:ext>
            </a:extLst>
          </p:cNvPr>
          <p:cNvCxnSpPr>
            <a:cxnSpLocks/>
          </p:cNvCxnSpPr>
          <p:nvPr/>
        </p:nvCxnSpPr>
        <p:spPr>
          <a:xfrm>
            <a:off x="8254228" y="2537672"/>
            <a:ext cx="154280" cy="0"/>
          </a:xfrm>
          <a:prstGeom prst="straightConnector1">
            <a:avLst/>
          </a:prstGeom>
          <a:ln>
            <a:solidFill>
              <a:srgbClr val="0000F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Freeform 78">
            <a:extLst>
              <a:ext uri="{FF2B5EF4-FFF2-40B4-BE49-F238E27FC236}">
                <a16:creationId xmlns:a16="http://schemas.microsoft.com/office/drawing/2014/main" id="{4FD8DF50-3389-8F2B-1EED-08AF11925BD7}"/>
              </a:ext>
            </a:extLst>
          </p:cNvPr>
          <p:cNvSpPr>
            <a:spLocks noEditPoints="1"/>
          </p:cNvSpPr>
          <p:nvPr/>
        </p:nvSpPr>
        <p:spPr bwMode="gray">
          <a:xfrm rot="11360419" flipH="1" flipV="1">
            <a:off x="4292793" y="1355903"/>
            <a:ext cx="1339434" cy="483154"/>
          </a:xfrm>
          <a:custGeom>
            <a:avLst/>
            <a:gdLst>
              <a:gd name="T0" fmla="*/ 404 w 553"/>
              <a:gd name="T1" fmla="*/ 86 h 111"/>
              <a:gd name="T2" fmla="*/ 514 w 553"/>
              <a:gd name="T3" fmla="*/ 59 h 111"/>
              <a:gd name="T4" fmla="*/ 453 w 553"/>
              <a:gd name="T5" fmla="*/ 60 h 111"/>
              <a:gd name="T6" fmla="*/ 449 w 553"/>
              <a:gd name="T7" fmla="*/ 46 h 111"/>
              <a:gd name="T8" fmla="*/ 410 w 553"/>
              <a:gd name="T9" fmla="*/ 70 h 111"/>
              <a:gd name="T10" fmla="*/ 391 w 553"/>
              <a:gd name="T11" fmla="*/ 41 h 111"/>
              <a:gd name="T12" fmla="*/ 127 w 553"/>
              <a:gd name="T13" fmla="*/ 64 h 111"/>
              <a:gd name="T14" fmla="*/ 43 w 553"/>
              <a:gd name="T15" fmla="*/ 90 h 111"/>
              <a:gd name="T16" fmla="*/ 2 w 553"/>
              <a:gd name="T17" fmla="*/ 111 h 111"/>
              <a:gd name="T18" fmla="*/ 348 w 553"/>
              <a:gd name="T19" fmla="*/ 21 h 111"/>
              <a:gd name="T20" fmla="*/ 389 w 553"/>
              <a:gd name="T21" fmla="*/ 21 h 111"/>
              <a:gd name="T22" fmla="*/ 477 w 553"/>
              <a:gd name="T23" fmla="*/ 3 h 111"/>
              <a:gd name="T24" fmla="*/ 543 w 553"/>
              <a:gd name="T25" fmla="*/ 58 h 111"/>
              <a:gd name="T26" fmla="*/ 550 w 553"/>
              <a:gd name="T27" fmla="*/ 66 h 111"/>
              <a:gd name="T28" fmla="*/ 544 w 553"/>
              <a:gd name="T29" fmla="*/ 65 h 111"/>
              <a:gd name="T30" fmla="*/ 530 w 553"/>
              <a:gd name="T31" fmla="*/ 62 h 111"/>
              <a:gd name="T32" fmla="*/ 525 w 553"/>
              <a:gd name="T33" fmla="*/ 62 h 111"/>
              <a:gd name="T34" fmla="*/ 534 w 553"/>
              <a:gd name="T35" fmla="*/ 57 h 111"/>
              <a:gd name="T36" fmla="*/ 500 w 553"/>
              <a:gd name="T37" fmla="*/ 43 h 111"/>
              <a:gd name="T38" fmla="*/ 516 w 553"/>
              <a:gd name="T39" fmla="*/ 49 h 111"/>
              <a:gd name="T40" fmla="*/ 516 w 553"/>
              <a:gd name="T41" fmla="*/ 52 h 111"/>
              <a:gd name="T42" fmla="*/ 529 w 553"/>
              <a:gd name="T43" fmla="*/ 50 h 111"/>
              <a:gd name="T44" fmla="*/ 469 w 553"/>
              <a:gd name="T45" fmla="*/ 22 h 111"/>
              <a:gd name="T46" fmla="*/ 471 w 553"/>
              <a:gd name="T47" fmla="*/ 30 h 111"/>
              <a:gd name="T48" fmla="*/ 492 w 553"/>
              <a:gd name="T49" fmla="*/ 34 h 111"/>
              <a:gd name="T50" fmla="*/ 497 w 553"/>
              <a:gd name="T51" fmla="*/ 36 h 111"/>
              <a:gd name="T52" fmla="*/ 501 w 553"/>
              <a:gd name="T53" fmla="*/ 36 h 111"/>
              <a:gd name="T54" fmla="*/ 502 w 553"/>
              <a:gd name="T55" fmla="*/ 38 h 111"/>
              <a:gd name="T56" fmla="*/ 495 w 553"/>
              <a:gd name="T57" fmla="*/ 42 h 111"/>
              <a:gd name="T58" fmla="*/ 494 w 553"/>
              <a:gd name="T59" fmla="*/ 49 h 111"/>
              <a:gd name="T60" fmla="*/ 494 w 553"/>
              <a:gd name="T61" fmla="*/ 49 h 111"/>
              <a:gd name="T62" fmla="*/ 492 w 553"/>
              <a:gd name="T63" fmla="*/ 47 h 111"/>
              <a:gd name="T64" fmla="*/ 483 w 553"/>
              <a:gd name="T65" fmla="*/ 47 h 111"/>
              <a:gd name="T66" fmla="*/ 492 w 553"/>
              <a:gd name="T67" fmla="*/ 39 h 111"/>
              <a:gd name="T68" fmla="*/ 480 w 553"/>
              <a:gd name="T69" fmla="*/ 37 h 111"/>
              <a:gd name="T70" fmla="*/ 481 w 553"/>
              <a:gd name="T71" fmla="*/ 44 h 111"/>
              <a:gd name="T72" fmla="*/ 463 w 553"/>
              <a:gd name="T73" fmla="*/ 44 h 111"/>
              <a:gd name="T74" fmla="*/ 468 w 553"/>
              <a:gd name="T75" fmla="*/ 49 h 111"/>
              <a:gd name="T76" fmla="*/ 458 w 553"/>
              <a:gd name="T77" fmla="*/ 53 h 111"/>
              <a:gd name="T78" fmla="*/ 463 w 553"/>
              <a:gd name="T79" fmla="*/ 32 h 111"/>
              <a:gd name="T80" fmla="*/ 465 w 553"/>
              <a:gd name="T81" fmla="*/ 33 h 111"/>
              <a:gd name="T82" fmla="*/ 457 w 553"/>
              <a:gd name="T83" fmla="*/ 37 h 111"/>
              <a:gd name="T84" fmla="*/ 459 w 553"/>
              <a:gd name="T85" fmla="*/ 43 h 111"/>
              <a:gd name="T86" fmla="*/ 423 w 553"/>
              <a:gd name="T87" fmla="*/ 27 h 111"/>
              <a:gd name="T88" fmla="*/ 456 w 553"/>
              <a:gd name="T89" fmla="*/ 32 h 111"/>
              <a:gd name="T90" fmla="*/ 180 w 553"/>
              <a:gd name="T91" fmla="*/ 52 h 111"/>
              <a:gd name="T92" fmla="*/ 391 w 553"/>
              <a:gd name="T93" fmla="*/ 37 h 111"/>
              <a:gd name="T94" fmla="*/ 434 w 553"/>
              <a:gd name="T95" fmla="*/ 33 h 111"/>
              <a:gd name="T96" fmla="*/ 360 w 553"/>
              <a:gd name="T97" fmla="*/ 27 h 111"/>
              <a:gd name="T98" fmla="*/ 232 w 553"/>
              <a:gd name="T99" fmla="*/ 40 h 111"/>
              <a:gd name="T100" fmla="*/ 115 w 553"/>
              <a:gd name="T101" fmla="*/ 63 h 1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553" h="111">
                <a:moveTo>
                  <a:pt x="548" y="70"/>
                </a:moveTo>
                <a:cubicBezTo>
                  <a:pt x="545" y="69"/>
                  <a:pt x="542" y="69"/>
                  <a:pt x="539" y="69"/>
                </a:cubicBezTo>
                <a:cubicBezTo>
                  <a:pt x="539" y="69"/>
                  <a:pt x="539" y="69"/>
                  <a:pt x="539" y="69"/>
                </a:cubicBezTo>
                <a:cubicBezTo>
                  <a:pt x="494" y="69"/>
                  <a:pt x="449" y="78"/>
                  <a:pt x="404" y="86"/>
                </a:cubicBezTo>
                <a:cubicBezTo>
                  <a:pt x="404" y="86"/>
                  <a:pt x="404" y="86"/>
                  <a:pt x="404" y="86"/>
                </a:cubicBezTo>
                <a:cubicBezTo>
                  <a:pt x="404" y="82"/>
                  <a:pt x="404" y="82"/>
                  <a:pt x="404" y="82"/>
                </a:cubicBezTo>
                <a:cubicBezTo>
                  <a:pt x="439" y="72"/>
                  <a:pt x="476" y="62"/>
                  <a:pt x="514" y="59"/>
                </a:cubicBezTo>
                <a:cubicBezTo>
                  <a:pt x="514" y="59"/>
                  <a:pt x="514" y="59"/>
                  <a:pt x="514" y="59"/>
                </a:cubicBezTo>
                <a:cubicBezTo>
                  <a:pt x="501" y="55"/>
                  <a:pt x="488" y="52"/>
                  <a:pt x="476" y="50"/>
                </a:cubicBezTo>
                <a:cubicBezTo>
                  <a:pt x="476" y="50"/>
                  <a:pt x="476" y="50"/>
                  <a:pt x="476" y="50"/>
                </a:cubicBezTo>
                <a:cubicBezTo>
                  <a:pt x="467" y="54"/>
                  <a:pt x="458" y="57"/>
                  <a:pt x="453" y="60"/>
                </a:cubicBezTo>
                <a:cubicBezTo>
                  <a:pt x="453" y="60"/>
                  <a:pt x="453" y="60"/>
                  <a:pt x="453" y="60"/>
                </a:cubicBezTo>
                <a:cubicBezTo>
                  <a:pt x="450" y="57"/>
                  <a:pt x="450" y="57"/>
                  <a:pt x="450" y="57"/>
                </a:cubicBezTo>
                <a:cubicBezTo>
                  <a:pt x="452" y="54"/>
                  <a:pt x="455" y="50"/>
                  <a:pt x="457" y="47"/>
                </a:cubicBezTo>
                <a:cubicBezTo>
                  <a:pt x="457" y="47"/>
                  <a:pt x="457" y="47"/>
                  <a:pt x="457" y="47"/>
                </a:cubicBezTo>
                <a:cubicBezTo>
                  <a:pt x="454" y="46"/>
                  <a:pt x="452" y="46"/>
                  <a:pt x="449" y="46"/>
                </a:cubicBezTo>
                <a:cubicBezTo>
                  <a:pt x="449" y="46"/>
                  <a:pt x="449" y="46"/>
                  <a:pt x="449" y="46"/>
                </a:cubicBezTo>
                <a:cubicBezTo>
                  <a:pt x="438" y="57"/>
                  <a:pt x="425" y="66"/>
                  <a:pt x="412" y="73"/>
                </a:cubicBezTo>
                <a:cubicBezTo>
                  <a:pt x="412" y="73"/>
                  <a:pt x="412" y="73"/>
                  <a:pt x="412" y="73"/>
                </a:cubicBezTo>
                <a:cubicBezTo>
                  <a:pt x="410" y="70"/>
                  <a:pt x="410" y="70"/>
                  <a:pt x="410" y="70"/>
                </a:cubicBezTo>
                <a:cubicBezTo>
                  <a:pt x="420" y="62"/>
                  <a:pt x="430" y="53"/>
                  <a:pt x="441" y="45"/>
                </a:cubicBezTo>
                <a:cubicBezTo>
                  <a:pt x="441" y="45"/>
                  <a:pt x="441" y="45"/>
                  <a:pt x="441" y="45"/>
                </a:cubicBezTo>
                <a:cubicBezTo>
                  <a:pt x="424" y="43"/>
                  <a:pt x="407" y="42"/>
                  <a:pt x="391" y="41"/>
                </a:cubicBezTo>
                <a:cubicBezTo>
                  <a:pt x="391" y="41"/>
                  <a:pt x="391" y="41"/>
                  <a:pt x="391" y="41"/>
                </a:cubicBezTo>
                <a:cubicBezTo>
                  <a:pt x="277" y="39"/>
                  <a:pt x="174" y="74"/>
                  <a:pt x="54" y="102"/>
                </a:cubicBezTo>
                <a:cubicBezTo>
                  <a:pt x="54" y="102"/>
                  <a:pt x="54" y="102"/>
                  <a:pt x="54" y="102"/>
                </a:cubicBezTo>
                <a:cubicBezTo>
                  <a:pt x="52" y="99"/>
                  <a:pt x="52" y="99"/>
                  <a:pt x="52" y="99"/>
                </a:cubicBezTo>
                <a:cubicBezTo>
                  <a:pt x="72" y="86"/>
                  <a:pt x="97" y="75"/>
                  <a:pt x="127" y="64"/>
                </a:cubicBezTo>
                <a:cubicBezTo>
                  <a:pt x="127" y="64"/>
                  <a:pt x="127" y="64"/>
                  <a:pt x="127" y="64"/>
                </a:cubicBezTo>
                <a:cubicBezTo>
                  <a:pt x="99" y="72"/>
                  <a:pt x="71" y="82"/>
                  <a:pt x="44" y="94"/>
                </a:cubicBezTo>
                <a:cubicBezTo>
                  <a:pt x="44" y="94"/>
                  <a:pt x="44" y="94"/>
                  <a:pt x="44" y="94"/>
                </a:cubicBezTo>
                <a:cubicBezTo>
                  <a:pt x="43" y="90"/>
                  <a:pt x="43" y="90"/>
                  <a:pt x="43" y="90"/>
                </a:cubicBezTo>
                <a:cubicBezTo>
                  <a:pt x="52" y="85"/>
                  <a:pt x="62" y="80"/>
                  <a:pt x="73" y="75"/>
                </a:cubicBezTo>
                <a:cubicBezTo>
                  <a:pt x="73" y="75"/>
                  <a:pt x="73" y="75"/>
                  <a:pt x="73" y="75"/>
                </a:cubicBezTo>
                <a:cubicBezTo>
                  <a:pt x="47" y="86"/>
                  <a:pt x="23" y="98"/>
                  <a:pt x="2" y="111"/>
                </a:cubicBezTo>
                <a:cubicBezTo>
                  <a:pt x="2" y="111"/>
                  <a:pt x="2" y="111"/>
                  <a:pt x="2" y="111"/>
                </a:cubicBezTo>
                <a:cubicBezTo>
                  <a:pt x="2" y="111"/>
                  <a:pt x="2" y="111"/>
                  <a:pt x="2" y="111"/>
                </a:cubicBezTo>
                <a:cubicBezTo>
                  <a:pt x="0" y="107"/>
                  <a:pt x="0" y="107"/>
                  <a:pt x="0" y="107"/>
                </a:cubicBezTo>
                <a:cubicBezTo>
                  <a:pt x="87" y="53"/>
                  <a:pt x="223" y="18"/>
                  <a:pt x="348" y="21"/>
                </a:cubicBezTo>
                <a:cubicBezTo>
                  <a:pt x="348" y="21"/>
                  <a:pt x="348" y="21"/>
                  <a:pt x="348" y="21"/>
                </a:cubicBezTo>
                <a:cubicBezTo>
                  <a:pt x="353" y="21"/>
                  <a:pt x="359" y="21"/>
                  <a:pt x="365" y="21"/>
                </a:cubicBezTo>
                <a:cubicBezTo>
                  <a:pt x="365" y="21"/>
                  <a:pt x="365" y="21"/>
                  <a:pt x="365" y="21"/>
                </a:cubicBezTo>
                <a:cubicBezTo>
                  <a:pt x="373" y="21"/>
                  <a:pt x="381" y="21"/>
                  <a:pt x="389" y="21"/>
                </a:cubicBezTo>
                <a:cubicBezTo>
                  <a:pt x="389" y="21"/>
                  <a:pt x="389" y="21"/>
                  <a:pt x="389" y="21"/>
                </a:cubicBezTo>
                <a:cubicBezTo>
                  <a:pt x="414" y="21"/>
                  <a:pt x="438" y="23"/>
                  <a:pt x="460" y="27"/>
                </a:cubicBezTo>
                <a:cubicBezTo>
                  <a:pt x="460" y="27"/>
                  <a:pt x="460" y="27"/>
                  <a:pt x="460" y="27"/>
                </a:cubicBezTo>
                <a:cubicBezTo>
                  <a:pt x="466" y="20"/>
                  <a:pt x="472" y="11"/>
                  <a:pt x="477" y="3"/>
                </a:cubicBezTo>
                <a:cubicBezTo>
                  <a:pt x="477" y="3"/>
                  <a:pt x="477" y="3"/>
                  <a:pt x="477" y="3"/>
                </a:cubicBezTo>
                <a:cubicBezTo>
                  <a:pt x="478" y="0"/>
                  <a:pt x="478" y="0"/>
                  <a:pt x="478" y="0"/>
                </a:cubicBezTo>
                <a:cubicBezTo>
                  <a:pt x="480" y="2"/>
                  <a:pt x="480" y="2"/>
                  <a:pt x="480" y="2"/>
                </a:cubicBezTo>
                <a:cubicBezTo>
                  <a:pt x="501" y="18"/>
                  <a:pt x="524" y="38"/>
                  <a:pt x="543" y="58"/>
                </a:cubicBezTo>
                <a:cubicBezTo>
                  <a:pt x="543" y="58"/>
                  <a:pt x="543" y="58"/>
                  <a:pt x="543" y="58"/>
                </a:cubicBezTo>
                <a:cubicBezTo>
                  <a:pt x="547" y="61"/>
                  <a:pt x="547" y="61"/>
                  <a:pt x="547" y="61"/>
                </a:cubicBezTo>
                <a:cubicBezTo>
                  <a:pt x="545" y="61"/>
                  <a:pt x="545" y="61"/>
                  <a:pt x="545" y="61"/>
                </a:cubicBezTo>
                <a:cubicBezTo>
                  <a:pt x="547" y="63"/>
                  <a:pt x="548" y="64"/>
                  <a:pt x="550" y="66"/>
                </a:cubicBezTo>
                <a:cubicBezTo>
                  <a:pt x="550" y="66"/>
                  <a:pt x="550" y="66"/>
                  <a:pt x="550" y="66"/>
                </a:cubicBezTo>
                <a:cubicBezTo>
                  <a:pt x="553" y="70"/>
                  <a:pt x="553" y="70"/>
                  <a:pt x="553" y="70"/>
                </a:cubicBezTo>
                <a:cubicBezTo>
                  <a:pt x="548" y="70"/>
                  <a:pt x="548" y="70"/>
                  <a:pt x="548" y="70"/>
                </a:cubicBezTo>
                <a:close/>
                <a:moveTo>
                  <a:pt x="540" y="65"/>
                </a:moveTo>
                <a:cubicBezTo>
                  <a:pt x="541" y="65"/>
                  <a:pt x="542" y="65"/>
                  <a:pt x="544" y="65"/>
                </a:cubicBezTo>
                <a:cubicBezTo>
                  <a:pt x="544" y="65"/>
                  <a:pt x="544" y="65"/>
                  <a:pt x="544" y="65"/>
                </a:cubicBezTo>
                <a:cubicBezTo>
                  <a:pt x="542" y="64"/>
                  <a:pt x="541" y="63"/>
                  <a:pt x="540" y="61"/>
                </a:cubicBezTo>
                <a:cubicBezTo>
                  <a:pt x="540" y="61"/>
                  <a:pt x="540" y="61"/>
                  <a:pt x="540" y="61"/>
                </a:cubicBezTo>
                <a:cubicBezTo>
                  <a:pt x="537" y="61"/>
                  <a:pt x="533" y="61"/>
                  <a:pt x="530" y="62"/>
                </a:cubicBezTo>
                <a:cubicBezTo>
                  <a:pt x="530" y="62"/>
                  <a:pt x="530" y="62"/>
                  <a:pt x="530" y="62"/>
                </a:cubicBezTo>
                <a:cubicBezTo>
                  <a:pt x="529" y="63"/>
                  <a:pt x="529" y="63"/>
                  <a:pt x="529" y="63"/>
                </a:cubicBezTo>
                <a:cubicBezTo>
                  <a:pt x="528" y="63"/>
                  <a:pt x="526" y="62"/>
                  <a:pt x="525" y="62"/>
                </a:cubicBezTo>
                <a:cubicBezTo>
                  <a:pt x="525" y="62"/>
                  <a:pt x="525" y="62"/>
                  <a:pt x="525" y="62"/>
                </a:cubicBezTo>
                <a:cubicBezTo>
                  <a:pt x="500" y="63"/>
                  <a:pt x="476" y="68"/>
                  <a:pt x="452" y="73"/>
                </a:cubicBezTo>
                <a:cubicBezTo>
                  <a:pt x="452" y="73"/>
                  <a:pt x="452" y="73"/>
                  <a:pt x="452" y="73"/>
                </a:cubicBezTo>
                <a:cubicBezTo>
                  <a:pt x="481" y="69"/>
                  <a:pt x="510" y="65"/>
                  <a:pt x="540" y="65"/>
                </a:cubicBezTo>
                <a:close/>
                <a:moveTo>
                  <a:pt x="534" y="57"/>
                </a:moveTo>
                <a:cubicBezTo>
                  <a:pt x="524" y="51"/>
                  <a:pt x="513" y="46"/>
                  <a:pt x="500" y="42"/>
                </a:cubicBezTo>
                <a:cubicBezTo>
                  <a:pt x="500" y="42"/>
                  <a:pt x="500" y="42"/>
                  <a:pt x="500" y="42"/>
                </a:cubicBezTo>
                <a:cubicBezTo>
                  <a:pt x="500" y="42"/>
                  <a:pt x="500" y="43"/>
                  <a:pt x="500" y="43"/>
                </a:cubicBezTo>
                <a:cubicBezTo>
                  <a:pt x="500" y="43"/>
                  <a:pt x="500" y="43"/>
                  <a:pt x="500" y="43"/>
                </a:cubicBezTo>
                <a:cubicBezTo>
                  <a:pt x="505" y="45"/>
                  <a:pt x="510" y="47"/>
                  <a:pt x="515" y="49"/>
                </a:cubicBezTo>
                <a:cubicBezTo>
                  <a:pt x="515" y="49"/>
                  <a:pt x="515" y="49"/>
                  <a:pt x="515" y="49"/>
                </a:cubicBezTo>
                <a:cubicBezTo>
                  <a:pt x="515" y="49"/>
                  <a:pt x="515" y="49"/>
                  <a:pt x="515" y="49"/>
                </a:cubicBezTo>
                <a:cubicBezTo>
                  <a:pt x="516" y="49"/>
                  <a:pt x="516" y="49"/>
                  <a:pt x="516" y="49"/>
                </a:cubicBezTo>
                <a:cubicBezTo>
                  <a:pt x="516" y="49"/>
                  <a:pt x="516" y="50"/>
                  <a:pt x="516" y="51"/>
                </a:cubicBezTo>
                <a:cubicBezTo>
                  <a:pt x="516" y="51"/>
                  <a:pt x="516" y="51"/>
                  <a:pt x="516" y="51"/>
                </a:cubicBezTo>
                <a:cubicBezTo>
                  <a:pt x="516" y="52"/>
                  <a:pt x="516" y="52"/>
                  <a:pt x="516" y="52"/>
                </a:cubicBezTo>
                <a:cubicBezTo>
                  <a:pt x="516" y="52"/>
                  <a:pt x="516" y="52"/>
                  <a:pt x="516" y="52"/>
                </a:cubicBezTo>
                <a:cubicBezTo>
                  <a:pt x="520" y="54"/>
                  <a:pt x="524" y="56"/>
                  <a:pt x="527" y="58"/>
                </a:cubicBezTo>
                <a:cubicBezTo>
                  <a:pt x="527" y="58"/>
                  <a:pt x="527" y="58"/>
                  <a:pt x="527" y="58"/>
                </a:cubicBezTo>
                <a:cubicBezTo>
                  <a:pt x="529" y="57"/>
                  <a:pt x="532" y="57"/>
                  <a:pt x="534" y="57"/>
                </a:cubicBezTo>
                <a:close/>
                <a:moveTo>
                  <a:pt x="529" y="50"/>
                </a:moveTo>
                <a:cubicBezTo>
                  <a:pt x="514" y="34"/>
                  <a:pt x="496" y="19"/>
                  <a:pt x="479" y="7"/>
                </a:cubicBezTo>
                <a:cubicBezTo>
                  <a:pt x="479" y="7"/>
                  <a:pt x="479" y="7"/>
                  <a:pt x="479" y="7"/>
                </a:cubicBezTo>
                <a:cubicBezTo>
                  <a:pt x="476" y="12"/>
                  <a:pt x="473" y="17"/>
                  <a:pt x="469" y="22"/>
                </a:cubicBezTo>
                <a:cubicBezTo>
                  <a:pt x="469" y="22"/>
                  <a:pt x="469" y="22"/>
                  <a:pt x="469" y="22"/>
                </a:cubicBezTo>
                <a:cubicBezTo>
                  <a:pt x="471" y="21"/>
                  <a:pt x="472" y="19"/>
                  <a:pt x="474" y="18"/>
                </a:cubicBezTo>
                <a:cubicBezTo>
                  <a:pt x="474" y="18"/>
                  <a:pt x="474" y="18"/>
                  <a:pt x="474" y="18"/>
                </a:cubicBezTo>
                <a:cubicBezTo>
                  <a:pt x="477" y="21"/>
                  <a:pt x="477" y="21"/>
                  <a:pt x="477" y="21"/>
                </a:cubicBezTo>
                <a:cubicBezTo>
                  <a:pt x="475" y="23"/>
                  <a:pt x="473" y="26"/>
                  <a:pt x="471" y="30"/>
                </a:cubicBezTo>
                <a:cubicBezTo>
                  <a:pt x="471" y="30"/>
                  <a:pt x="471" y="30"/>
                  <a:pt x="471" y="30"/>
                </a:cubicBezTo>
                <a:cubicBezTo>
                  <a:pt x="477" y="31"/>
                  <a:pt x="482" y="32"/>
                  <a:pt x="487" y="33"/>
                </a:cubicBezTo>
                <a:cubicBezTo>
                  <a:pt x="487" y="33"/>
                  <a:pt x="487" y="33"/>
                  <a:pt x="487" y="33"/>
                </a:cubicBezTo>
                <a:cubicBezTo>
                  <a:pt x="489" y="33"/>
                  <a:pt x="491" y="34"/>
                  <a:pt x="492" y="34"/>
                </a:cubicBezTo>
                <a:cubicBezTo>
                  <a:pt x="492" y="34"/>
                  <a:pt x="492" y="34"/>
                  <a:pt x="492" y="34"/>
                </a:cubicBezTo>
                <a:cubicBezTo>
                  <a:pt x="492" y="35"/>
                  <a:pt x="492" y="35"/>
                  <a:pt x="492" y="35"/>
                </a:cubicBezTo>
                <a:cubicBezTo>
                  <a:pt x="494" y="35"/>
                  <a:pt x="495" y="36"/>
                  <a:pt x="497" y="36"/>
                </a:cubicBezTo>
                <a:cubicBezTo>
                  <a:pt x="497" y="36"/>
                  <a:pt x="497" y="36"/>
                  <a:pt x="497" y="36"/>
                </a:cubicBezTo>
                <a:cubicBezTo>
                  <a:pt x="497" y="36"/>
                  <a:pt x="498" y="36"/>
                  <a:pt x="498" y="35"/>
                </a:cubicBezTo>
                <a:cubicBezTo>
                  <a:pt x="498" y="35"/>
                  <a:pt x="498" y="35"/>
                  <a:pt x="498" y="35"/>
                </a:cubicBezTo>
                <a:cubicBezTo>
                  <a:pt x="500" y="34"/>
                  <a:pt x="500" y="34"/>
                  <a:pt x="500" y="34"/>
                </a:cubicBezTo>
                <a:cubicBezTo>
                  <a:pt x="501" y="36"/>
                  <a:pt x="501" y="36"/>
                  <a:pt x="501" y="36"/>
                </a:cubicBezTo>
                <a:cubicBezTo>
                  <a:pt x="502" y="36"/>
                  <a:pt x="502" y="37"/>
                  <a:pt x="502" y="38"/>
                </a:cubicBezTo>
                <a:cubicBezTo>
                  <a:pt x="502" y="38"/>
                  <a:pt x="502" y="38"/>
                  <a:pt x="502" y="38"/>
                </a:cubicBezTo>
                <a:cubicBezTo>
                  <a:pt x="502" y="38"/>
                  <a:pt x="502" y="38"/>
                  <a:pt x="502" y="38"/>
                </a:cubicBezTo>
                <a:cubicBezTo>
                  <a:pt x="502" y="38"/>
                  <a:pt x="502" y="38"/>
                  <a:pt x="502" y="38"/>
                </a:cubicBezTo>
                <a:cubicBezTo>
                  <a:pt x="511" y="41"/>
                  <a:pt x="521" y="45"/>
                  <a:pt x="529" y="50"/>
                </a:cubicBezTo>
                <a:close/>
                <a:moveTo>
                  <a:pt x="496" y="41"/>
                </a:moveTo>
                <a:cubicBezTo>
                  <a:pt x="496" y="41"/>
                  <a:pt x="496" y="42"/>
                  <a:pt x="495" y="42"/>
                </a:cubicBezTo>
                <a:cubicBezTo>
                  <a:pt x="495" y="42"/>
                  <a:pt x="495" y="42"/>
                  <a:pt x="495" y="42"/>
                </a:cubicBezTo>
                <a:cubicBezTo>
                  <a:pt x="495" y="42"/>
                  <a:pt x="496" y="42"/>
                  <a:pt x="496" y="42"/>
                </a:cubicBezTo>
                <a:cubicBezTo>
                  <a:pt x="496" y="42"/>
                  <a:pt x="496" y="42"/>
                  <a:pt x="496" y="42"/>
                </a:cubicBezTo>
                <a:cubicBezTo>
                  <a:pt x="496" y="42"/>
                  <a:pt x="496" y="42"/>
                  <a:pt x="496" y="41"/>
                </a:cubicBezTo>
                <a:close/>
                <a:moveTo>
                  <a:pt x="494" y="49"/>
                </a:moveTo>
                <a:cubicBezTo>
                  <a:pt x="494" y="50"/>
                  <a:pt x="494" y="50"/>
                  <a:pt x="494" y="50"/>
                </a:cubicBezTo>
                <a:cubicBezTo>
                  <a:pt x="494" y="50"/>
                  <a:pt x="494" y="50"/>
                  <a:pt x="494" y="50"/>
                </a:cubicBezTo>
                <a:cubicBezTo>
                  <a:pt x="494" y="50"/>
                  <a:pt x="494" y="50"/>
                  <a:pt x="494" y="50"/>
                </a:cubicBezTo>
                <a:cubicBezTo>
                  <a:pt x="494" y="49"/>
                  <a:pt x="494" y="49"/>
                  <a:pt x="494" y="49"/>
                </a:cubicBezTo>
                <a:close/>
                <a:moveTo>
                  <a:pt x="493" y="48"/>
                </a:moveTo>
                <a:cubicBezTo>
                  <a:pt x="493" y="49"/>
                  <a:pt x="493" y="49"/>
                  <a:pt x="493" y="49"/>
                </a:cubicBezTo>
                <a:cubicBezTo>
                  <a:pt x="493" y="48"/>
                  <a:pt x="493" y="48"/>
                  <a:pt x="493" y="48"/>
                </a:cubicBezTo>
                <a:close/>
                <a:moveTo>
                  <a:pt x="492" y="47"/>
                </a:moveTo>
                <a:cubicBezTo>
                  <a:pt x="490" y="47"/>
                  <a:pt x="489" y="46"/>
                  <a:pt x="487" y="46"/>
                </a:cubicBezTo>
                <a:cubicBezTo>
                  <a:pt x="487" y="46"/>
                  <a:pt x="487" y="46"/>
                  <a:pt x="487" y="46"/>
                </a:cubicBezTo>
                <a:cubicBezTo>
                  <a:pt x="486" y="46"/>
                  <a:pt x="484" y="47"/>
                  <a:pt x="483" y="47"/>
                </a:cubicBezTo>
                <a:cubicBezTo>
                  <a:pt x="483" y="47"/>
                  <a:pt x="483" y="47"/>
                  <a:pt x="483" y="47"/>
                </a:cubicBezTo>
                <a:cubicBezTo>
                  <a:pt x="486" y="48"/>
                  <a:pt x="488" y="48"/>
                  <a:pt x="491" y="49"/>
                </a:cubicBezTo>
                <a:cubicBezTo>
                  <a:pt x="491" y="49"/>
                  <a:pt x="491" y="49"/>
                  <a:pt x="491" y="49"/>
                </a:cubicBezTo>
                <a:cubicBezTo>
                  <a:pt x="491" y="48"/>
                  <a:pt x="492" y="48"/>
                  <a:pt x="492" y="47"/>
                </a:cubicBezTo>
                <a:close/>
                <a:moveTo>
                  <a:pt x="492" y="39"/>
                </a:moveTo>
                <a:cubicBezTo>
                  <a:pt x="490" y="39"/>
                  <a:pt x="488" y="38"/>
                  <a:pt x="487" y="38"/>
                </a:cubicBezTo>
                <a:cubicBezTo>
                  <a:pt x="487" y="38"/>
                  <a:pt x="487" y="38"/>
                  <a:pt x="487" y="38"/>
                </a:cubicBezTo>
                <a:cubicBezTo>
                  <a:pt x="484" y="37"/>
                  <a:pt x="482" y="37"/>
                  <a:pt x="480" y="37"/>
                </a:cubicBezTo>
                <a:cubicBezTo>
                  <a:pt x="480" y="37"/>
                  <a:pt x="480" y="37"/>
                  <a:pt x="480" y="37"/>
                </a:cubicBezTo>
                <a:cubicBezTo>
                  <a:pt x="483" y="38"/>
                  <a:pt x="486" y="39"/>
                  <a:pt x="490" y="40"/>
                </a:cubicBezTo>
                <a:cubicBezTo>
                  <a:pt x="490" y="40"/>
                  <a:pt x="490" y="40"/>
                  <a:pt x="490" y="40"/>
                </a:cubicBezTo>
                <a:cubicBezTo>
                  <a:pt x="490" y="40"/>
                  <a:pt x="491" y="39"/>
                  <a:pt x="492" y="39"/>
                </a:cubicBezTo>
                <a:close/>
                <a:moveTo>
                  <a:pt x="481" y="44"/>
                </a:moveTo>
                <a:cubicBezTo>
                  <a:pt x="476" y="42"/>
                  <a:pt x="471" y="41"/>
                  <a:pt x="466" y="40"/>
                </a:cubicBezTo>
                <a:cubicBezTo>
                  <a:pt x="466" y="40"/>
                  <a:pt x="466" y="40"/>
                  <a:pt x="466" y="40"/>
                </a:cubicBezTo>
                <a:cubicBezTo>
                  <a:pt x="465" y="41"/>
                  <a:pt x="464" y="42"/>
                  <a:pt x="463" y="44"/>
                </a:cubicBezTo>
                <a:cubicBezTo>
                  <a:pt x="463" y="44"/>
                  <a:pt x="463" y="44"/>
                  <a:pt x="463" y="44"/>
                </a:cubicBezTo>
                <a:cubicBezTo>
                  <a:pt x="467" y="44"/>
                  <a:pt x="472" y="45"/>
                  <a:pt x="476" y="46"/>
                </a:cubicBezTo>
                <a:cubicBezTo>
                  <a:pt x="476" y="46"/>
                  <a:pt x="476" y="46"/>
                  <a:pt x="476" y="46"/>
                </a:cubicBezTo>
                <a:cubicBezTo>
                  <a:pt x="477" y="45"/>
                  <a:pt x="479" y="45"/>
                  <a:pt x="481" y="44"/>
                </a:cubicBezTo>
                <a:close/>
                <a:moveTo>
                  <a:pt x="468" y="49"/>
                </a:moveTo>
                <a:cubicBezTo>
                  <a:pt x="466" y="48"/>
                  <a:pt x="463" y="48"/>
                  <a:pt x="461" y="48"/>
                </a:cubicBezTo>
                <a:cubicBezTo>
                  <a:pt x="461" y="48"/>
                  <a:pt x="461" y="48"/>
                  <a:pt x="461" y="48"/>
                </a:cubicBezTo>
                <a:cubicBezTo>
                  <a:pt x="460" y="49"/>
                  <a:pt x="459" y="51"/>
                  <a:pt x="458" y="53"/>
                </a:cubicBezTo>
                <a:cubicBezTo>
                  <a:pt x="458" y="53"/>
                  <a:pt x="458" y="53"/>
                  <a:pt x="458" y="53"/>
                </a:cubicBezTo>
                <a:cubicBezTo>
                  <a:pt x="461" y="51"/>
                  <a:pt x="465" y="50"/>
                  <a:pt x="468" y="49"/>
                </a:cubicBezTo>
                <a:close/>
                <a:moveTo>
                  <a:pt x="465" y="32"/>
                </a:moveTo>
                <a:cubicBezTo>
                  <a:pt x="464" y="32"/>
                  <a:pt x="464" y="32"/>
                  <a:pt x="463" y="32"/>
                </a:cubicBezTo>
                <a:cubicBezTo>
                  <a:pt x="463" y="32"/>
                  <a:pt x="463" y="32"/>
                  <a:pt x="463" y="32"/>
                </a:cubicBezTo>
                <a:cubicBezTo>
                  <a:pt x="463" y="32"/>
                  <a:pt x="463" y="33"/>
                  <a:pt x="462" y="33"/>
                </a:cubicBezTo>
                <a:cubicBezTo>
                  <a:pt x="462" y="33"/>
                  <a:pt x="462" y="33"/>
                  <a:pt x="462" y="33"/>
                </a:cubicBezTo>
                <a:cubicBezTo>
                  <a:pt x="463" y="33"/>
                  <a:pt x="464" y="33"/>
                  <a:pt x="465" y="33"/>
                </a:cubicBezTo>
                <a:cubicBezTo>
                  <a:pt x="465" y="33"/>
                  <a:pt x="465" y="33"/>
                  <a:pt x="465" y="33"/>
                </a:cubicBezTo>
                <a:cubicBezTo>
                  <a:pt x="465" y="33"/>
                  <a:pt x="465" y="33"/>
                  <a:pt x="465" y="32"/>
                </a:cubicBezTo>
                <a:close/>
                <a:moveTo>
                  <a:pt x="462" y="39"/>
                </a:moveTo>
                <a:cubicBezTo>
                  <a:pt x="460" y="38"/>
                  <a:pt x="459" y="38"/>
                  <a:pt x="457" y="37"/>
                </a:cubicBezTo>
                <a:cubicBezTo>
                  <a:pt x="457" y="37"/>
                  <a:pt x="457" y="37"/>
                  <a:pt x="457" y="37"/>
                </a:cubicBezTo>
                <a:cubicBezTo>
                  <a:pt x="456" y="39"/>
                  <a:pt x="454" y="41"/>
                  <a:pt x="453" y="42"/>
                </a:cubicBezTo>
                <a:cubicBezTo>
                  <a:pt x="453" y="42"/>
                  <a:pt x="453" y="42"/>
                  <a:pt x="453" y="42"/>
                </a:cubicBezTo>
                <a:cubicBezTo>
                  <a:pt x="455" y="42"/>
                  <a:pt x="457" y="43"/>
                  <a:pt x="459" y="43"/>
                </a:cubicBezTo>
                <a:cubicBezTo>
                  <a:pt x="459" y="43"/>
                  <a:pt x="459" y="43"/>
                  <a:pt x="459" y="43"/>
                </a:cubicBezTo>
                <a:cubicBezTo>
                  <a:pt x="460" y="42"/>
                  <a:pt x="461" y="40"/>
                  <a:pt x="462" y="39"/>
                </a:cubicBezTo>
                <a:close/>
                <a:moveTo>
                  <a:pt x="457" y="31"/>
                </a:moveTo>
                <a:cubicBezTo>
                  <a:pt x="446" y="29"/>
                  <a:pt x="435" y="28"/>
                  <a:pt x="423" y="27"/>
                </a:cubicBezTo>
                <a:cubicBezTo>
                  <a:pt x="423" y="27"/>
                  <a:pt x="423" y="27"/>
                  <a:pt x="423" y="27"/>
                </a:cubicBezTo>
                <a:cubicBezTo>
                  <a:pt x="425" y="27"/>
                  <a:pt x="426" y="27"/>
                  <a:pt x="428" y="27"/>
                </a:cubicBezTo>
                <a:cubicBezTo>
                  <a:pt x="428" y="27"/>
                  <a:pt x="428" y="27"/>
                  <a:pt x="428" y="27"/>
                </a:cubicBezTo>
                <a:cubicBezTo>
                  <a:pt x="437" y="29"/>
                  <a:pt x="447" y="30"/>
                  <a:pt x="456" y="32"/>
                </a:cubicBezTo>
                <a:cubicBezTo>
                  <a:pt x="456" y="32"/>
                  <a:pt x="456" y="32"/>
                  <a:pt x="456" y="32"/>
                </a:cubicBezTo>
                <a:cubicBezTo>
                  <a:pt x="457" y="32"/>
                  <a:pt x="457" y="31"/>
                  <a:pt x="457" y="31"/>
                </a:cubicBezTo>
                <a:close/>
                <a:moveTo>
                  <a:pt x="451" y="37"/>
                </a:moveTo>
                <a:cubicBezTo>
                  <a:pt x="360" y="36"/>
                  <a:pt x="268" y="36"/>
                  <a:pt x="180" y="52"/>
                </a:cubicBezTo>
                <a:cubicBezTo>
                  <a:pt x="180" y="52"/>
                  <a:pt x="180" y="52"/>
                  <a:pt x="180" y="52"/>
                </a:cubicBezTo>
                <a:cubicBezTo>
                  <a:pt x="136" y="64"/>
                  <a:pt x="96" y="79"/>
                  <a:pt x="66" y="95"/>
                </a:cubicBezTo>
                <a:cubicBezTo>
                  <a:pt x="66" y="95"/>
                  <a:pt x="66" y="95"/>
                  <a:pt x="66" y="95"/>
                </a:cubicBezTo>
                <a:cubicBezTo>
                  <a:pt x="180" y="68"/>
                  <a:pt x="281" y="35"/>
                  <a:pt x="391" y="37"/>
                </a:cubicBezTo>
                <a:cubicBezTo>
                  <a:pt x="391" y="37"/>
                  <a:pt x="391" y="37"/>
                  <a:pt x="391" y="37"/>
                </a:cubicBezTo>
                <a:cubicBezTo>
                  <a:pt x="409" y="38"/>
                  <a:pt x="427" y="39"/>
                  <a:pt x="445" y="41"/>
                </a:cubicBezTo>
                <a:cubicBezTo>
                  <a:pt x="445" y="41"/>
                  <a:pt x="445" y="41"/>
                  <a:pt x="445" y="41"/>
                </a:cubicBezTo>
                <a:cubicBezTo>
                  <a:pt x="447" y="40"/>
                  <a:pt x="449" y="38"/>
                  <a:pt x="451" y="37"/>
                </a:cubicBezTo>
                <a:close/>
                <a:moveTo>
                  <a:pt x="434" y="33"/>
                </a:moveTo>
                <a:cubicBezTo>
                  <a:pt x="432" y="32"/>
                  <a:pt x="429" y="32"/>
                  <a:pt x="427" y="31"/>
                </a:cubicBezTo>
                <a:cubicBezTo>
                  <a:pt x="427" y="31"/>
                  <a:pt x="427" y="31"/>
                  <a:pt x="427" y="31"/>
                </a:cubicBezTo>
                <a:cubicBezTo>
                  <a:pt x="406" y="29"/>
                  <a:pt x="383" y="27"/>
                  <a:pt x="360" y="27"/>
                </a:cubicBezTo>
                <a:cubicBezTo>
                  <a:pt x="360" y="27"/>
                  <a:pt x="360" y="27"/>
                  <a:pt x="360" y="27"/>
                </a:cubicBezTo>
                <a:cubicBezTo>
                  <a:pt x="350" y="26"/>
                  <a:pt x="340" y="27"/>
                  <a:pt x="330" y="27"/>
                </a:cubicBezTo>
                <a:cubicBezTo>
                  <a:pt x="330" y="27"/>
                  <a:pt x="330" y="27"/>
                  <a:pt x="330" y="27"/>
                </a:cubicBezTo>
                <a:cubicBezTo>
                  <a:pt x="297" y="29"/>
                  <a:pt x="264" y="34"/>
                  <a:pt x="232" y="40"/>
                </a:cubicBezTo>
                <a:cubicBezTo>
                  <a:pt x="232" y="40"/>
                  <a:pt x="232" y="40"/>
                  <a:pt x="232" y="40"/>
                </a:cubicBezTo>
                <a:cubicBezTo>
                  <a:pt x="298" y="32"/>
                  <a:pt x="366" y="32"/>
                  <a:pt x="434" y="33"/>
                </a:cubicBezTo>
                <a:close/>
                <a:moveTo>
                  <a:pt x="241" y="34"/>
                </a:moveTo>
                <a:cubicBezTo>
                  <a:pt x="196" y="41"/>
                  <a:pt x="153" y="51"/>
                  <a:pt x="115" y="63"/>
                </a:cubicBezTo>
                <a:cubicBezTo>
                  <a:pt x="115" y="63"/>
                  <a:pt x="115" y="63"/>
                  <a:pt x="115" y="63"/>
                </a:cubicBezTo>
                <a:cubicBezTo>
                  <a:pt x="136" y="57"/>
                  <a:pt x="157" y="52"/>
                  <a:pt x="179" y="48"/>
                </a:cubicBezTo>
                <a:cubicBezTo>
                  <a:pt x="179" y="48"/>
                  <a:pt x="179" y="48"/>
                  <a:pt x="179" y="48"/>
                </a:cubicBezTo>
                <a:cubicBezTo>
                  <a:pt x="199" y="43"/>
                  <a:pt x="220" y="38"/>
                  <a:pt x="241" y="34"/>
                </a:cubicBezTo>
                <a:close/>
              </a:path>
            </a:pathLst>
          </a:custGeom>
          <a:solidFill>
            <a:schemeClr val="tx1"/>
          </a:solidFill>
          <a:ln>
            <a:solidFill>
              <a:schemeClr val="tx1"/>
            </a:solidFill>
          </a:ln>
        </p:spPr>
        <p:txBody>
          <a:bodyPr vert="horz" wrap="square" lIns="72466" tIns="36238" rIns="72466" bIns="36238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</a:pPr>
            <a:endParaRPr lang="en-US" sz="700" dirty="0">
              <a:solidFill>
                <a:srgbClr val="003366"/>
              </a:solidFill>
            </a:endParaRP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9ADA34E4-04C2-FCFA-8974-A3ACC605C9B5}"/>
              </a:ext>
            </a:extLst>
          </p:cNvPr>
          <p:cNvSpPr txBox="1"/>
          <p:nvPr/>
        </p:nvSpPr>
        <p:spPr>
          <a:xfrm>
            <a:off x="3250121" y="912652"/>
            <a:ext cx="326530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latin typeface="Helvetica" panose="020B0604020202020204" pitchFamily="34" charset="0"/>
              </a:rPr>
              <a:t>Theoretically determined </a:t>
            </a:r>
            <a:br>
              <a:rPr lang="en-US" sz="1200" dirty="0">
                <a:latin typeface="Helvetica" panose="020B0604020202020204" pitchFamily="34" charset="0"/>
              </a:rPr>
            </a:br>
            <a:r>
              <a:rPr lang="en-US" sz="1200" dirty="0">
                <a:latin typeface="Helvetica" panose="020B0604020202020204" pitchFamily="34" charset="0"/>
              </a:rPr>
              <a:t>broadened BEs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C9DFED43-5995-7E8F-00F9-EB8CBE8EEA78}"/>
              </a:ext>
            </a:extLst>
          </p:cNvPr>
          <p:cNvSpPr/>
          <p:nvPr/>
        </p:nvSpPr>
        <p:spPr>
          <a:xfrm>
            <a:off x="8527778" y="2792896"/>
            <a:ext cx="487017" cy="2286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1BC03254-2020-01A9-BFE2-5B1A147BBAB1}"/>
              </a:ext>
            </a:extLst>
          </p:cNvPr>
          <p:cNvSpPr/>
          <p:nvPr/>
        </p:nvSpPr>
        <p:spPr>
          <a:xfrm>
            <a:off x="191799" y="5812021"/>
            <a:ext cx="3890669" cy="2743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36195" algn="just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9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Momma, K.; Izumi, F. </a:t>
            </a:r>
            <a:r>
              <a:rPr lang="en-US" sz="900" i="1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J. Appl. </a:t>
            </a:r>
            <a:r>
              <a:rPr lang="en-US" sz="900" i="1" dirty="0" err="1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Crystallogr</a:t>
            </a:r>
            <a:r>
              <a:rPr lang="en-US" sz="900" i="1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r>
              <a:rPr lang="en-US" sz="9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900" b="1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2011</a:t>
            </a:r>
            <a:r>
              <a:rPr lang="en-US" sz="9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en-US" sz="900" i="1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44 </a:t>
            </a:r>
            <a:r>
              <a:rPr lang="en-US" sz="9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(6), 1272–1276</a:t>
            </a:r>
            <a:endParaRPr lang="en-US" sz="900" dirty="0">
              <a:solidFill>
                <a:srgbClr val="000000"/>
              </a:solidFill>
              <a:effectLst/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B3E02CBD-B96F-1FA8-BDD3-E9E29A55F78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451092" y="172243"/>
            <a:ext cx="1234608" cy="12602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52287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2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CDD82D-F6B1-029F-05EE-CF841771DD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… more result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F5081C3-1489-1DB3-81A5-FD3E9076160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1206176175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F149658D-5E33-E7D7-8C54-98B2089FE1B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9" name="think-cell Folie" r:id="rId5" imgW="425" imgH="424" progId="TCLayout.ActiveDocument.1">
                  <p:embed/>
                </p:oleObj>
              </mc:Choice>
              <mc:Fallback>
                <p:oleObj name="think-cell Folie" r:id="rId5" imgW="425" imgH="42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F149658D-5E33-E7D7-8C54-98B2089FE1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35C0CDCE-7AEA-9330-0F47-F904C30A91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         Lesson(s) learnt…</a:t>
            </a:r>
          </a:p>
        </p:txBody>
      </p:sp>
      <p:sp>
        <p:nvSpPr>
          <p:cNvPr id="9" name="Oval 5">
            <a:extLst>
              <a:ext uri="{FF2B5EF4-FFF2-40B4-BE49-F238E27FC236}">
                <a16:creationId xmlns:a16="http://schemas.microsoft.com/office/drawing/2014/main" id="{E04574C6-B690-F0C6-2660-DEE8F6A3263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24118" y="3077850"/>
            <a:ext cx="380578" cy="375884"/>
          </a:xfrm>
          <a:prstGeom prst="ellipse">
            <a:avLst/>
          </a:prstGeom>
          <a:solidFill>
            <a:srgbClr val="FFB400"/>
          </a:solidFill>
          <a:ln>
            <a:noFill/>
          </a:ln>
          <a:effectLst/>
        </p:spPr>
        <p:txBody>
          <a:bodyPr wrap="none" lIns="0" tIns="0" rIns="0" bIns="0" anchor="ctr">
            <a:noAutofit/>
          </a:bodyPr>
          <a:lstStyle/>
          <a:p>
            <a:endParaRPr lang="en-US" dirty="0"/>
          </a:p>
        </p:txBody>
      </p:sp>
      <p:sp>
        <p:nvSpPr>
          <p:cNvPr id="10" name="AutoShape 6">
            <a:extLst>
              <a:ext uri="{FF2B5EF4-FFF2-40B4-BE49-F238E27FC236}">
                <a16:creationId xmlns:a16="http://schemas.microsoft.com/office/drawing/2014/main" id="{AE27E52A-D715-F4CB-F35D-317A918BAF8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15223" y="2673998"/>
            <a:ext cx="1198368" cy="1183585"/>
          </a:xfrm>
          <a:custGeom>
            <a:avLst/>
            <a:gdLst>
              <a:gd name="G0" fmla="+- 3981 0 0"/>
              <a:gd name="G1" fmla="+- 21600 0 3981"/>
              <a:gd name="G2" fmla="+- 21600 0 3981"/>
              <a:gd name="G3" fmla="*/ G0 2929 10000"/>
              <a:gd name="G4" fmla="+- 21600 0 G3"/>
              <a:gd name="G5" fmla="+- 21600 0 G3"/>
              <a:gd name="T0" fmla="*/ 10800 w 21600"/>
              <a:gd name="T1" fmla="*/ 0 h 21600"/>
              <a:gd name="T2" fmla="*/ 3163 w 21600"/>
              <a:gd name="T3" fmla="*/ 3163 h 21600"/>
              <a:gd name="T4" fmla="*/ 0 w 21600"/>
              <a:gd name="T5" fmla="*/ 10800 h 21600"/>
              <a:gd name="T6" fmla="*/ 3163 w 21600"/>
              <a:gd name="T7" fmla="*/ 18437 h 21600"/>
              <a:gd name="T8" fmla="*/ 10800 w 21600"/>
              <a:gd name="T9" fmla="*/ 21600 h 21600"/>
              <a:gd name="T10" fmla="*/ 18437 w 21600"/>
              <a:gd name="T11" fmla="*/ 18437 h 21600"/>
              <a:gd name="T12" fmla="*/ 21600 w 21600"/>
              <a:gd name="T13" fmla="*/ 10800 h 21600"/>
              <a:gd name="T14" fmla="*/ 18437 w 21600"/>
              <a:gd name="T15" fmla="*/ 3163 h 21600"/>
              <a:gd name="T16" fmla="*/ 3163 w 21600"/>
              <a:gd name="T17" fmla="*/ 3163 h 21600"/>
              <a:gd name="T18" fmla="*/ 18437 w 21600"/>
              <a:gd name="T19" fmla="*/ 18437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T16" t="T17" r="T18" b="T19"/>
            <a:pathLst>
              <a:path w="21600" h="21600">
                <a:moveTo>
                  <a:pt x="0" y="10800"/>
                </a:moveTo>
                <a:cubicBezTo>
                  <a:pt x="0" y="4835"/>
                  <a:pt x="4835" y="0"/>
                  <a:pt x="10800" y="0"/>
                </a:cubicBezTo>
                <a:cubicBezTo>
                  <a:pt x="16765" y="0"/>
                  <a:pt x="21600" y="4835"/>
                  <a:pt x="21600" y="10800"/>
                </a:cubicBezTo>
                <a:cubicBezTo>
                  <a:pt x="21600" y="16765"/>
                  <a:pt x="16765" y="21600"/>
                  <a:pt x="10800" y="21600"/>
                </a:cubicBezTo>
                <a:cubicBezTo>
                  <a:pt x="4835" y="21600"/>
                  <a:pt x="0" y="16765"/>
                  <a:pt x="0" y="10800"/>
                </a:cubicBezTo>
                <a:close/>
                <a:moveTo>
                  <a:pt x="3981" y="10800"/>
                </a:moveTo>
                <a:cubicBezTo>
                  <a:pt x="3981" y="14566"/>
                  <a:pt x="7034" y="17619"/>
                  <a:pt x="10800" y="17619"/>
                </a:cubicBezTo>
                <a:cubicBezTo>
                  <a:pt x="14566" y="17619"/>
                  <a:pt x="17619" y="14566"/>
                  <a:pt x="17619" y="10800"/>
                </a:cubicBezTo>
                <a:cubicBezTo>
                  <a:pt x="17619" y="7034"/>
                  <a:pt x="14566" y="3981"/>
                  <a:pt x="10800" y="3981"/>
                </a:cubicBezTo>
                <a:cubicBezTo>
                  <a:pt x="7034" y="3981"/>
                  <a:pt x="3981" y="7034"/>
                  <a:pt x="3981" y="10800"/>
                </a:cubicBezTo>
                <a:close/>
              </a:path>
            </a:pathLst>
          </a:custGeom>
          <a:solidFill>
            <a:srgbClr val="00539F"/>
          </a:solidFill>
          <a:ln>
            <a:noFill/>
          </a:ln>
          <a:effectLst/>
        </p:spPr>
        <p:txBody>
          <a:bodyPr lIns="0" tIns="0" rIns="0" bIns="0" anchor="ctr">
            <a:noAutofit/>
          </a:bodyPr>
          <a:lstStyle/>
          <a:p>
            <a:endParaRPr lang="en-US" dirty="0"/>
          </a:p>
        </p:txBody>
      </p:sp>
      <p:sp>
        <p:nvSpPr>
          <p:cNvPr id="11" name="AutoShape 7">
            <a:extLst>
              <a:ext uri="{FF2B5EF4-FFF2-40B4-BE49-F238E27FC236}">
                <a16:creationId xmlns:a16="http://schemas.microsoft.com/office/drawing/2014/main" id="{FF2C4E56-3DEC-DE0E-581F-275A3B25F6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0277" y="2244417"/>
            <a:ext cx="2068260" cy="2042746"/>
          </a:xfrm>
          <a:custGeom>
            <a:avLst/>
            <a:gdLst>
              <a:gd name="G0" fmla="+- 2426 0 0"/>
              <a:gd name="G1" fmla="+- 21600 0 2426"/>
              <a:gd name="G2" fmla="+- 21600 0 2426"/>
              <a:gd name="G3" fmla="*/ G0 2929 10000"/>
              <a:gd name="G4" fmla="+- 21600 0 G3"/>
              <a:gd name="G5" fmla="+- 21600 0 G3"/>
              <a:gd name="T0" fmla="*/ 10800 w 21600"/>
              <a:gd name="T1" fmla="*/ 0 h 21600"/>
              <a:gd name="T2" fmla="*/ 3163 w 21600"/>
              <a:gd name="T3" fmla="*/ 3163 h 21600"/>
              <a:gd name="T4" fmla="*/ 0 w 21600"/>
              <a:gd name="T5" fmla="*/ 10800 h 21600"/>
              <a:gd name="T6" fmla="*/ 3163 w 21600"/>
              <a:gd name="T7" fmla="*/ 18437 h 21600"/>
              <a:gd name="T8" fmla="*/ 10800 w 21600"/>
              <a:gd name="T9" fmla="*/ 21600 h 21600"/>
              <a:gd name="T10" fmla="*/ 18437 w 21600"/>
              <a:gd name="T11" fmla="*/ 18437 h 21600"/>
              <a:gd name="T12" fmla="*/ 21600 w 21600"/>
              <a:gd name="T13" fmla="*/ 10800 h 21600"/>
              <a:gd name="T14" fmla="*/ 18437 w 21600"/>
              <a:gd name="T15" fmla="*/ 3163 h 21600"/>
              <a:gd name="T16" fmla="*/ 3163 w 21600"/>
              <a:gd name="T17" fmla="*/ 3163 h 21600"/>
              <a:gd name="T18" fmla="*/ 18437 w 21600"/>
              <a:gd name="T19" fmla="*/ 18437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T16" t="T17" r="T18" b="T19"/>
            <a:pathLst>
              <a:path w="21600" h="21600">
                <a:moveTo>
                  <a:pt x="0" y="10800"/>
                </a:moveTo>
                <a:cubicBezTo>
                  <a:pt x="0" y="4835"/>
                  <a:pt x="4835" y="0"/>
                  <a:pt x="10800" y="0"/>
                </a:cubicBezTo>
                <a:cubicBezTo>
                  <a:pt x="16765" y="0"/>
                  <a:pt x="21600" y="4835"/>
                  <a:pt x="21600" y="10800"/>
                </a:cubicBezTo>
                <a:cubicBezTo>
                  <a:pt x="21600" y="16765"/>
                  <a:pt x="16765" y="21600"/>
                  <a:pt x="10800" y="21600"/>
                </a:cubicBezTo>
                <a:cubicBezTo>
                  <a:pt x="4835" y="21600"/>
                  <a:pt x="0" y="16765"/>
                  <a:pt x="0" y="10800"/>
                </a:cubicBezTo>
                <a:close/>
                <a:moveTo>
                  <a:pt x="2426" y="10800"/>
                </a:moveTo>
                <a:cubicBezTo>
                  <a:pt x="2426" y="15425"/>
                  <a:pt x="6175" y="19174"/>
                  <a:pt x="10800" y="19174"/>
                </a:cubicBezTo>
                <a:cubicBezTo>
                  <a:pt x="15425" y="19174"/>
                  <a:pt x="19174" y="15425"/>
                  <a:pt x="19174" y="10800"/>
                </a:cubicBezTo>
                <a:cubicBezTo>
                  <a:pt x="19174" y="6175"/>
                  <a:pt x="15425" y="2426"/>
                  <a:pt x="10800" y="2426"/>
                </a:cubicBezTo>
                <a:cubicBezTo>
                  <a:pt x="6175" y="2426"/>
                  <a:pt x="2426" y="6175"/>
                  <a:pt x="2426" y="10800"/>
                </a:cubicBezTo>
                <a:close/>
              </a:path>
            </a:pathLst>
          </a:custGeom>
          <a:solidFill>
            <a:srgbClr val="00539F"/>
          </a:solidFill>
          <a:ln>
            <a:noFill/>
          </a:ln>
          <a:effectLst/>
        </p:spPr>
        <p:txBody>
          <a:bodyPr lIns="0" tIns="0" rIns="0" bIns="0" anchor="ctr">
            <a:noAutofit/>
          </a:bodyPr>
          <a:lstStyle/>
          <a:p>
            <a:endParaRPr lang="en-US" dirty="0"/>
          </a:p>
        </p:txBody>
      </p:sp>
      <p:sp>
        <p:nvSpPr>
          <p:cNvPr id="12" name="AutoShape 8">
            <a:extLst>
              <a:ext uri="{FF2B5EF4-FFF2-40B4-BE49-F238E27FC236}">
                <a16:creationId xmlns:a16="http://schemas.microsoft.com/office/drawing/2014/main" id="{072F2CED-4008-FAD0-3888-F8A8C4BC5BF8}"/>
              </a:ext>
            </a:extLst>
          </p:cNvPr>
          <p:cNvSpPr>
            <a:spLocks noChangeArrowheads="1"/>
          </p:cNvSpPr>
          <p:nvPr/>
        </p:nvSpPr>
        <p:spPr bwMode="auto">
          <a:xfrm flipH="1">
            <a:off x="1710862" y="1556888"/>
            <a:ext cx="8527752" cy="3405046"/>
          </a:xfrm>
          <a:prstGeom prst="homePlate">
            <a:avLst>
              <a:gd name="adj" fmla="val 19862"/>
            </a:avLst>
          </a:prstGeom>
          <a:solidFill>
            <a:srgbClr val="FFFFFF">
              <a:alpha val="88000"/>
            </a:srgbClr>
          </a:solidFill>
          <a:ln w="12700">
            <a:solidFill>
              <a:srgbClr val="7887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48220" tIns="32147" rIns="48220" bIns="32147" anchor="ctr"/>
          <a:lstStyle/>
          <a:p>
            <a:pPr algn="ctr"/>
            <a:endParaRPr lang="en-US" sz="1250" dirty="0">
              <a:latin typeface="TKTypeMedium"/>
            </a:endParaRPr>
          </a:p>
        </p:txBody>
      </p:sp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DA6B3D5D-180E-7EBE-1581-815E17919BE0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2715041" y="1865344"/>
            <a:ext cx="7415550" cy="353256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18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rgbClr val="00A0F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rgbClr val="00A0F5"/>
              </a:buClr>
              <a:buFont typeface="TKTypeMedium" panose="020B0603040202020204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rgbClr val="00A0F5"/>
              </a:buClr>
              <a:buFont typeface="TKTypeMedium" panose="020B0603040202020204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97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rgbClr val="00A0F5"/>
              </a:buClr>
              <a:buFont typeface="TKTypeMedium" panose="020B0603040202020204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rgbClr val="00A0F5"/>
              </a:buClr>
              <a:buFont typeface="TKTypeMedium" panose="020B0603040202020204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8097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rgbClr val="00A0F5"/>
              </a:buClr>
              <a:buFont typeface="TKTypeMedium" panose="020B0603040202020204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rgbClr val="00A0F5"/>
              </a:buClr>
              <a:buFont typeface="TKTypeMedium" panose="020B0603040202020204" pitchFamily="34" charset="0"/>
              <a:buChar char="−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97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rgbClr val="00A0F5"/>
              </a:buClr>
              <a:buFont typeface="TKTypeMedium" panose="020B0603040202020204" pitchFamily="34" charset="0"/>
              <a:buChar char="−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975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rgbClr val="00A0F5"/>
              </a:buClr>
              <a:buFont typeface="TKTypeMedium" panose="020B0603040202020204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50000"/>
              </a:lnSpc>
              <a:spcBef>
                <a:spcPts val="0"/>
              </a:spcBef>
              <a:spcAft>
                <a:spcPts val="1800"/>
              </a:spcAft>
              <a:buNone/>
            </a:pPr>
            <a:r>
              <a:rPr lang="en-US" sz="1600" b="1" dirty="0"/>
              <a:t>Summary of obtained knowledge</a:t>
            </a:r>
          </a:p>
          <a:p>
            <a:pPr marL="0" indent="0" algn="ctr">
              <a:lnSpc>
                <a:spcPct val="150000"/>
              </a:lnSpc>
              <a:spcBef>
                <a:spcPts val="0"/>
              </a:spcBef>
              <a:spcAft>
                <a:spcPts val="1800"/>
              </a:spcAft>
              <a:buNone/>
            </a:pPr>
            <a:r>
              <a:rPr lang="en-US" sz="1600" b="1" dirty="0"/>
              <a:t>Answers to question: “What have I learnt?:</a:t>
            </a:r>
            <a:endParaRPr lang="en-US" dirty="0"/>
          </a:p>
          <a:p>
            <a:pPr marL="898525" lvl="5" indent="0">
              <a:lnSpc>
                <a:spcPct val="150000"/>
              </a:lnSpc>
              <a:spcBef>
                <a:spcPts val="0"/>
              </a:spcBef>
              <a:buClr>
                <a:schemeClr val="tx2"/>
              </a:buClr>
              <a:buNone/>
            </a:pPr>
            <a:endParaRPr lang="en-US" sz="2400" b="1" dirty="0">
              <a:solidFill>
                <a:schemeClr val="tx1"/>
              </a:solidFill>
            </a:endParaRPr>
          </a:p>
          <a:p>
            <a:pPr lvl="5">
              <a:lnSpc>
                <a:spcPct val="150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en-US" sz="2400" b="1" dirty="0">
              <a:solidFill>
                <a:schemeClr val="tx1"/>
              </a:solidFill>
            </a:endParaRPr>
          </a:p>
        </p:txBody>
      </p:sp>
      <p:pic>
        <p:nvPicPr>
          <p:cNvPr id="25" name="Grafik 24" descr="Glühlampe Silhouette">
            <a:extLst>
              <a:ext uri="{FF2B5EF4-FFF2-40B4-BE49-F238E27FC236}">
                <a16:creationId xmlns:a16="http://schemas.microsoft.com/office/drawing/2014/main" id="{7F6BD930-921B-D612-FD51-BCF50D7058B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95276" y="253895"/>
            <a:ext cx="491306" cy="4913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46736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DB2FCD68-BD01-42AA-8C0E-8528FA70B16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3" name="think-cell Folie" r:id="rId4" imgW="425" imgH="424" progId="TCLayout.ActiveDocument.1">
                  <p:embed/>
                </p:oleObj>
              </mc:Choice>
              <mc:Fallback>
                <p:oleObj name="think-cell Folie" r:id="rId4" imgW="425" imgH="42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DB2FCD68-BD01-42AA-8C0E-8528FA70B1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hteck 18">
            <a:extLst>
              <a:ext uri="{FF2B5EF4-FFF2-40B4-BE49-F238E27FC236}">
                <a16:creationId xmlns:a16="http://schemas.microsoft.com/office/drawing/2014/main" id="{8BDE114D-8128-4A67-8A8B-3FDCF2B7A7A1}"/>
              </a:ext>
            </a:extLst>
          </p:cNvPr>
          <p:cNvSpPr/>
          <p:nvPr/>
        </p:nvSpPr>
        <p:spPr>
          <a:xfrm>
            <a:off x="7911552" y="6091538"/>
            <a:ext cx="2975523" cy="760490"/>
          </a:xfrm>
          <a:prstGeom prst="rect">
            <a:avLst/>
          </a:prstGeom>
          <a:solidFill>
            <a:srgbClr val="0054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10" name="Rectangle 246">
            <a:extLst>
              <a:ext uri="{FF2B5EF4-FFF2-40B4-BE49-F238E27FC236}">
                <a16:creationId xmlns:a16="http://schemas.microsoft.com/office/drawing/2014/main" id="{741D5BCA-5CD1-4E72-9C6B-7BF8A554E22C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10887075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de-DE"/>
          </a:p>
        </p:txBody>
      </p:sp>
      <p:sp>
        <p:nvSpPr>
          <p:cNvPr id="338" name="Textfeld 337">
            <a:extLst>
              <a:ext uri="{FF2B5EF4-FFF2-40B4-BE49-F238E27FC236}">
                <a16:creationId xmlns:a16="http://schemas.microsoft.com/office/drawing/2014/main" id="{A0643DC1-D453-4F6F-B008-12611F2FA89F}"/>
              </a:ext>
            </a:extLst>
          </p:cNvPr>
          <p:cNvSpPr txBox="1"/>
          <p:nvPr/>
        </p:nvSpPr>
        <p:spPr>
          <a:xfrm>
            <a:off x="0" y="5168208"/>
            <a:ext cx="6415539" cy="830997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r>
              <a:rPr lang="en-US" sz="4800" b="1" dirty="0">
                <a:solidFill>
                  <a:schemeClr val="bg1"/>
                </a:solidFill>
                <a:latin typeface="Helvetica" panose="020B0604020202020204" pitchFamily="34" charset="0"/>
              </a:rPr>
              <a:t>	for your attention!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A30E5461-2710-4276-8B3A-28A6EDA8E508}"/>
              </a:ext>
            </a:extLst>
          </p:cNvPr>
          <p:cNvSpPr txBox="1"/>
          <p:nvPr/>
        </p:nvSpPr>
        <p:spPr>
          <a:xfrm>
            <a:off x="1" y="3859495"/>
            <a:ext cx="4273826" cy="830997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r>
              <a:rPr lang="en-US" sz="4800" b="1" dirty="0">
                <a:solidFill>
                  <a:schemeClr val="bg1"/>
                </a:solidFill>
                <a:latin typeface="Helvetica" panose="020B0604020202020204" pitchFamily="34" charset="0"/>
              </a:rPr>
              <a:t>	</a:t>
            </a:r>
            <a:r>
              <a:rPr lang="en-US" sz="4400" b="1" dirty="0">
                <a:solidFill>
                  <a:schemeClr val="bg1"/>
                </a:solidFill>
                <a:latin typeface="Helvetica" panose="020B0604020202020204" pitchFamily="34" charset="0"/>
              </a:rPr>
              <a:t>Thank you</a:t>
            </a:r>
            <a:endParaRPr lang="en-US" sz="4800" b="1" dirty="0">
              <a:solidFill>
                <a:schemeClr val="bg1"/>
              </a:solidFill>
              <a:latin typeface="Helvetica" panose="020B0604020202020204" pitchFamily="34" charset="0"/>
            </a:endParaRPr>
          </a:p>
        </p:txBody>
      </p:sp>
      <p:pic>
        <p:nvPicPr>
          <p:cNvPr id="246" name="Grafik 245" descr="Glühbirne">
            <a:extLst>
              <a:ext uri="{FF2B5EF4-FFF2-40B4-BE49-F238E27FC236}">
                <a16:creationId xmlns:a16="http://schemas.microsoft.com/office/drawing/2014/main" id="{5998625D-BBA4-431F-A4DB-8787CDDB19B3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287882" y="2084097"/>
            <a:ext cx="271720" cy="271720"/>
          </a:xfrm>
          <a:prstGeom prst="rect">
            <a:avLst/>
          </a:prstGeom>
        </p:spPr>
      </p:pic>
      <p:sp>
        <p:nvSpPr>
          <p:cNvPr id="247" name="Rechteck 246">
            <a:extLst>
              <a:ext uri="{FF2B5EF4-FFF2-40B4-BE49-F238E27FC236}">
                <a16:creationId xmlns:a16="http://schemas.microsoft.com/office/drawing/2014/main" id="{A0ACF5CE-50DE-4F7E-B981-29E2F2447D14}"/>
              </a:ext>
            </a:extLst>
          </p:cNvPr>
          <p:cNvSpPr/>
          <p:nvPr/>
        </p:nvSpPr>
        <p:spPr>
          <a:xfrm>
            <a:off x="298073" y="1495559"/>
            <a:ext cx="2265931" cy="471206"/>
          </a:xfrm>
          <a:prstGeom prst="rect">
            <a:avLst/>
          </a:prstGeom>
          <a:solidFill>
            <a:srgbClr val="44546A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endParaRPr lang="en-US" sz="1600" baseline="-25000" dirty="0">
              <a:solidFill>
                <a:srgbClr val="00549F"/>
              </a:solidFill>
            </a:endParaRPr>
          </a:p>
        </p:txBody>
      </p:sp>
      <p:grpSp>
        <p:nvGrpSpPr>
          <p:cNvPr id="248" name="Gruppieren 247">
            <a:extLst>
              <a:ext uri="{FF2B5EF4-FFF2-40B4-BE49-F238E27FC236}">
                <a16:creationId xmlns:a16="http://schemas.microsoft.com/office/drawing/2014/main" id="{4F52CE69-CEDC-475D-8481-69B64BC5A373}"/>
              </a:ext>
            </a:extLst>
          </p:cNvPr>
          <p:cNvGrpSpPr/>
          <p:nvPr/>
        </p:nvGrpSpPr>
        <p:grpSpPr>
          <a:xfrm>
            <a:off x="5031219" y="2345987"/>
            <a:ext cx="5526797" cy="974035"/>
            <a:chOff x="162344" y="79513"/>
            <a:chExt cx="5526797" cy="974035"/>
          </a:xfrm>
        </p:grpSpPr>
        <p:sp>
          <p:nvSpPr>
            <p:cNvPr id="249" name="BondLine2">
              <a:extLst>
                <a:ext uri="{FF2B5EF4-FFF2-40B4-BE49-F238E27FC236}">
                  <a16:creationId xmlns:a16="http://schemas.microsoft.com/office/drawing/2014/main" id="{F86DD16A-5722-47A1-9A84-188B73507883}"/>
                </a:ext>
              </a:extLst>
            </p:cNvPr>
            <p:cNvSpPr/>
            <p:nvPr/>
          </p:nvSpPr>
          <p:spPr>
            <a:xfrm>
              <a:off x="2794992" y="409361"/>
              <a:ext cx="164540" cy="94938"/>
            </a:xfrm>
            <a:custGeom>
              <a:avLst/>
              <a:gdLst/>
              <a:ahLst/>
              <a:cxnLst/>
              <a:rect l="l" t="t" r="r" b="b"/>
              <a:pathLst>
                <a:path w="164544" h="95000">
                  <a:moveTo>
                    <a:pt x="0" y="0"/>
                  </a:moveTo>
                  <a:lnTo>
                    <a:pt x="164544" y="9500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250" name="BondLine3">
              <a:extLst>
                <a:ext uri="{FF2B5EF4-FFF2-40B4-BE49-F238E27FC236}">
                  <a16:creationId xmlns:a16="http://schemas.microsoft.com/office/drawing/2014/main" id="{6E577D78-BB8D-457A-8910-BBFBB069441F}"/>
                </a:ext>
              </a:extLst>
            </p:cNvPr>
            <p:cNvSpPr/>
            <p:nvPr/>
          </p:nvSpPr>
          <p:spPr>
            <a:xfrm>
              <a:off x="2630452" y="409361"/>
              <a:ext cx="164540" cy="94938"/>
            </a:xfrm>
            <a:custGeom>
              <a:avLst/>
              <a:gdLst/>
              <a:ahLst/>
              <a:cxnLst/>
              <a:rect l="l" t="t" r="r" b="b"/>
              <a:pathLst>
                <a:path w="164544" h="95000">
                  <a:moveTo>
                    <a:pt x="0" y="95000"/>
                  </a:moveTo>
                  <a:lnTo>
                    <a:pt x="164544" y="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251" name="BondLine4">
              <a:extLst>
                <a:ext uri="{FF2B5EF4-FFF2-40B4-BE49-F238E27FC236}">
                  <a16:creationId xmlns:a16="http://schemas.microsoft.com/office/drawing/2014/main" id="{145B254F-98D3-4802-962A-67E608D1204D}"/>
                </a:ext>
              </a:extLst>
            </p:cNvPr>
            <p:cNvSpPr/>
            <p:nvPr/>
          </p:nvSpPr>
          <p:spPr>
            <a:xfrm>
              <a:off x="2668450" y="453211"/>
              <a:ext cx="126541" cy="73013"/>
            </a:xfrm>
            <a:custGeom>
              <a:avLst/>
              <a:gdLst/>
              <a:ahLst/>
              <a:cxnLst/>
              <a:rect l="l" t="t" r="r" b="b"/>
              <a:pathLst>
                <a:path w="126544" h="73060">
                  <a:moveTo>
                    <a:pt x="0" y="73060"/>
                  </a:moveTo>
                  <a:lnTo>
                    <a:pt x="126544" y="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252" name="BondLine5">
              <a:extLst>
                <a:ext uri="{FF2B5EF4-FFF2-40B4-BE49-F238E27FC236}">
                  <a16:creationId xmlns:a16="http://schemas.microsoft.com/office/drawing/2014/main" id="{612B39E1-3FF6-44BB-9CB5-9693B5C370DA}"/>
                </a:ext>
              </a:extLst>
            </p:cNvPr>
            <p:cNvSpPr/>
            <p:nvPr/>
          </p:nvSpPr>
          <p:spPr>
            <a:xfrm>
              <a:off x="2959533" y="504299"/>
              <a:ext cx="0" cy="189877"/>
            </a:xfrm>
            <a:custGeom>
              <a:avLst/>
              <a:gdLst/>
              <a:ahLst/>
              <a:cxnLst/>
              <a:rect l="l" t="t" r="r" b="b"/>
              <a:pathLst>
                <a:path h="190000">
                  <a:moveTo>
                    <a:pt x="0" y="0"/>
                  </a:moveTo>
                  <a:lnTo>
                    <a:pt x="0" y="19000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253" name="BondLine6">
              <a:extLst>
                <a:ext uri="{FF2B5EF4-FFF2-40B4-BE49-F238E27FC236}">
                  <a16:creationId xmlns:a16="http://schemas.microsoft.com/office/drawing/2014/main" id="{8C42D20E-D9E4-45FC-AB74-4B4C795423EB}"/>
                </a:ext>
              </a:extLst>
            </p:cNvPr>
            <p:cNvSpPr/>
            <p:nvPr/>
          </p:nvSpPr>
          <p:spPr>
            <a:xfrm>
              <a:off x="2921534" y="526224"/>
              <a:ext cx="0" cy="146026"/>
            </a:xfrm>
            <a:custGeom>
              <a:avLst/>
              <a:gdLst/>
              <a:ahLst/>
              <a:cxnLst/>
              <a:rect l="l" t="t" r="r" b="b"/>
              <a:pathLst>
                <a:path h="146121">
                  <a:moveTo>
                    <a:pt x="0" y="0"/>
                  </a:moveTo>
                  <a:lnTo>
                    <a:pt x="0" y="146121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254" name="BondLine7">
              <a:extLst>
                <a:ext uri="{FF2B5EF4-FFF2-40B4-BE49-F238E27FC236}">
                  <a16:creationId xmlns:a16="http://schemas.microsoft.com/office/drawing/2014/main" id="{14CC4513-6F37-46DF-9DCE-E84119F954C1}"/>
                </a:ext>
              </a:extLst>
            </p:cNvPr>
            <p:cNvSpPr/>
            <p:nvPr/>
          </p:nvSpPr>
          <p:spPr>
            <a:xfrm>
              <a:off x="2959533" y="409361"/>
              <a:ext cx="164540" cy="94938"/>
            </a:xfrm>
            <a:custGeom>
              <a:avLst/>
              <a:gdLst/>
              <a:ahLst/>
              <a:cxnLst/>
              <a:rect l="l" t="t" r="r" b="b"/>
              <a:pathLst>
                <a:path w="164544" h="95000">
                  <a:moveTo>
                    <a:pt x="0" y="95000"/>
                  </a:moveTo>
                  <a:lnTo>
                    <a:pt x="164544" y="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255" name="BondLine8">
              <a:extLst>
                <a:ext uri="{FF2B5EF4-FFF2-40B4-BE49-F238E27FC236}">
                  <a16:creationId xmlns:a16="http://schemas.microsoft.com/office/drawing/2014/main" id="{E0986D22-E9E6-4804-A5B1-E0B79E5375AE}"/>
                </a:ext>
              </a:extLst>
            </p:cNvPr>
            <p:cNvSpPr/>
            <p:nvPr/>
          </p:nvSpPr>
          <p:spPr>
            <a:xfrm>
              <a:off x="2794992" y="694176"/>
              <a:ext cx="164540" cy="94938"/>
            </a:xfrm>
            <a:custGeom>
              <a:avLst/>
              <a:gdLst/>
              <a:ahLst/>
              <a:cxnLst/>
              <a:rect l="l" t="t" r="r" b="b"/>
              <a:pathLst>
                <a:path w="164544" h="95000">
                  <a:moveTo>
                    <a:pt x="164544" y="0"/>
                  </a:moveTo>
                  <a:lnTo>
                    <a:pt x="0" y="9500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256" name="BondLine9">
              <a:extLst>
                <a:ext uri="{FF2B5EF4-FFF2-40B4-BE49-F238E27FC236}">
                  <a16:creationId xmlns:a16="http://schemas.microsoft.com/office/drawing/2014/main" id="{C816E7D6-23A7-4D2F-980D-FC6A9AF4A2EB}"/>
                </a:ext>
              </a:extLst>
            </p:cNvPr>
            <p:cNvSpPr/>
            <p:nvPr/>
          </p:nvSpPr>
          <p:spPr>
            <a:xfrm>
              <a:off x="2630452" y="694176"/>
              <a:ext cx="164540" cy="94938"/>
            </a:xfrm>
            <a:custGeom>
              <a:avLst/>
              <a:gdLst/>
              <a:ahLst/>
              <a:cxnLst/>
              <a:rect l="l" t="t" r="r" b="b"/>
              <a:pathLst>
                <a:path w="164544" h="95000">
                  <a:moveTo>
                    <a:pt x="164544" y="95000"/>
                  </a:moveTo>
                  <a:lnTo>
                    <a:pt x="0" y="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257" name="BondLine10">
              <a:extLst>
                <a:ext uri="{FF2B5EF4-FFF2-40B4-BE49-F238E27FC236}">
                  <a16:creationId xmlns:a16="http://schemas.microsoft.com/office/drawing/2014/main" id="{F0A2D503-1A01-4232-8447-795060C4B1E6}"/>
                </a:ext>
              </a:extLst>
            </p:cNvPr>
            <p:cNvSpPr/>
            <p:nvPr/>
          </p:nvSpPr>
          <p:spPr>
            <a:xfrm>
              <a:off x="2668451" y="672251"/>
              <a:ext cx="126541" cy="73013"/>
            </a:xfrm>
            <a:custGeom>
              <a:avLst/>
              <a:gdLst/>
              <a:ahLst/>
              <a:cxnLst/>
              <a:rect l="l" t="t" r="r" b="b"/>
              <a:pathLst>
                <a:path w="126544" h="73060">
                  <a:moveTo>
                    <a:pt x="126544" y="73060"/>
                  </a:moveTo>
                  <a:lnTo>
                    <a:pt x="0" y="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258" name="BondLine11">
              <a:extLst>
                <a:ext uri="{FF2B5EF4-FFF2-40B4-BE49-F238E27FC236}">
                  <a16:creationId xmlns:a16="http://schemas.microsoft.com/office/drawing/2014/main" id="{1B3677E4-D040-4A0D-BC1A-32D3114232E5}"/>
                </a:ext>
              </a:extLst>
            </p:cNvPr>
            <p:cNvSpPr/>
            <p:nvPr/>
          </p:nvSpPr>
          <p:spPr>
            <a:xfrm>
              <a:off x="2630452" y="504299"/>
              <a:ext cx="0" cy="189877"/>
            </a:xfrm>
            <a:custGeom>
              <a:avLst/>
              <a:gdLst/>
              <a:ahLst/>
              <a:cxnLst/>
              <a:rect l="l" t="t" r="r" b="b"/>
              <a:pathLst>
                <a:path h="190000">
                  <a:moveTo>
                    <a:pt x="0" y="190000"/>
                  </a:moveTo>
                  <a:lnTo>
                    <a:pt x="0" y="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259" name="BondLine12">
              <a:extLst>
                <a:ext uri="{FF2B5EF4-FFF2-40B4-BE49-F238E27FC236}">
                  <a16:creationId xmlns:a16="http://schemas.microsoft.com/office/drawing/2014/main" id="{845182AC-4952-40D4-B3DA-F88C5664EE89}"/>
                </a:ext>
              </a:extLst>
            </p:cNvPr>
            <p:cNvSpPr/>
            <p:nvPr/>
          </p:nvSpPr>
          <p:spPr>
            <a:xfrm>
              <a:off x="2520503" y="694176"/>
              <a:ext cx="109948" cy="63439"/>
            </a:xfrm>
            <a:custGeom>
              <a:avLst/>
              <a:gdLst/>
              <a:ahLst/>
              <a:cxnLst/>
              <a:rect l="l" t="t" r="r" b="b"/>
              <a:pathLst>
                <a:path w="109951" h="63480">
                  <a:moveTo>
                    <a:pt x="109951" y="0"/>
                  </a:moveTo>
                  <a:lnTo>
                    <a:pt x="0" y="6348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260" name="BondLine13">
              <a:extLst>
                <a:ext uri="{FF2B5EF4-FFF2-40B4-BE49-F238E27FC236}">
                  <a16:creationId xmlns:a16="http://schemas.microsoft.com/office/drawing/2014/main" id="{4224715C-2341-4429-B2CD-98C657131037}"/>
                </a:ext>
              </a:extLst>
            </p:cNvPr>
            <p:cNvSpPr/>
            <p:nvPr/>
          </p:nvSpPr>
          <p:spPr>
            <a:xfrm>
              <a:off x="2320370" y="705138"/>
              <a:ext cx="90949" cy="52476"/>
            </a:xfrm>
            <a:custGeom>
              <a:avLst/>
              <a:gdLst/>
              <a:ahLst/>
              <a:cxnLst/>
              <a:rect l="l" t="t" r="r" b="b"/>
              <a:pathLst>
                <a:path w="90951" h="52510">
                  <a:moveTo>
                    <a:pt x="90951" y="52510"/>
                  </a:moveTo>
                  <a:lnTo>
                    <a:pt x="0" y="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261" name="BondLine14">
              <a:extLst>
                <a:ext uri="{FF2B5EF4-FFF2-40B4-BE49-F238E27FC236}">
                  <a16:creationId xmlns:a16="http://schemas.microsoft.com/office/drawing/2014/main" id="{E8120020-5904-46EC-9879-3AAA1A68069D}"/>
                </a:ext>
              </a:extLst>
            </p:cNvPr>
            <p:cNvSpPr/>
            <p:nvPr/>
          </p:nvSpPr>
          <p:spPr>
            <a:xfrm>
              <a:off x="2191423" y="705138"/>
              <a:ext cx="90948" cy="52476"/>
            </a:xfrm>
            <a:custGeom>
              <a:avLst/>
              <a:gdLst/>
              <a:ahLst/>
              <a:cxnLst/>
              <a:rect l="l" t="t" r="r" b="b"/>
              <a:pathLst>
                <a:path w="90950" h="52510">
                  <a:moveTo>
                    <a:pt x="90950" y="0"/>
                  </a:moveTo>
                  <a:lnTo>
                    <a:pt x="0" y="5251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262" name="BondLine15">
              <a:extLst>
                <a:ext uri="{FF2B5EF4-FFF2-40B4-BE49-F238E27FC236}">
                  <a16:creationId xmlns:a16="http://schemas.microsoft.com/office/drawing/2014/main" id="{44995CE9-A571-4E4B-82D7-A8286027E820}"/>
                </a:ext>
              </a:extLst>
            </p:cNvPr>
            <p:cNvSpPr/>
            <p:nvPr/>
          </p:nvSpPr>
          <p:spPr>
            <a:xfrm>
              <a:off x="2320370" y="563883"/>
              <a:ext cx="0" cy="141254"/>
            </a:xfrm>
            <a:custGeom>
              <a:avLst/>
              <a:gdLst/>
              <a:ahLst/>
              <a:cxnLst/>
              <a:rect l="l" t="t" r="r" b="b"/>
              <a:pathLst>
                <a:path h="141346">
                  <a:moveTo>
                    <a:pt x="0" y="141346"/>
                  </a:moveTo>
                  <a:lnTo>
                    <a:pt x="0" y="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263" name="BondLine16">
              <a:extLst>
                <a:ext uri="{FF2B5EF4-FFF2-40B4-BE49-F238E27FC236}">
                  <a16:creationId xmlns:a16="http://schemas.microsoft.com/office/drawing/2014/main" id="{5FA2F18C-8803-43C9-B377-5E6D220DF69F}"/>
                </a:ext>
              </a:extLst>
            </p:cNvPr>
            <p:cNvSpPr/>
            <p:nvPr/>
          </p:nvSpPr>
          <p:spPr>
            <a:xfrm>
              <a:off x="2282371" y="563883"/>
              <a:ext cx="0" cy="141255"/>
            </a:xfrm>
            <a:custGeom>
              <a:avLst/>
              <a:gdLst/>
              <a:ahLst/>
              <a:cxnLst/>
              <a:rect l="l" t="t" r="r" b="b"/>
              <a:pathLst>
                <a:path h="141347">
                  <a:moveTo>
                    <a:pt x="0" y="141347"/>
                  </a:moveTo>
                  <a:lnTo>
                    <a:pt x="0" y="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264" name="BondLine17">
              <a:extLst>
                <a:ext uri="{FF2B5EF4-FFF2-40B4-BE49-F238E27FC236}">
                  <a16:creationId xmlns:a16="http://schemas.microsoft.com/office/drawing/2014/main" id="{6DCCFC8A-D12B-4B51-9CCF-E5757AE05570}"/>
                </a:ext>
              </a:extLst>
            </p:cNvPr>
            <p:cNvSpPr/>
            <p:nvPr/>
          </p:nvSpPr>
          <p:spPr>
            <a:xfrm>
              <a:off x="1972290" y="694176"/>
              <a:ext cx="109948" cy="63439"/>
            </a:xfrm>
            <a:custGeom>
              <a:avLst/>
              <a:gdLst/>
              <a:ahLst/>
              <a:cxnLst/>
              <a:rect l="l" t="t" r="r" b="b"/>
              <a:pathLst>
                <a:path w="109951" h="63480">
                  <a:moveTo>
                    <a:pt x="109951" y="63480"/>
                  </a:moveTo>
                  <a:lnTo>
                    <a:pt x="0" y="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265" name="BondLine18">
              <a:extLst>
                <a:ext uri="{FF2B5EF4-FFF2-40B4-BE49-F238E27FC236}">
                  <a16:creationId xmlns:a16="http://schemas.microsoft.com/office/drawing/2014/main" id="{22F7ECDD-9758-4910-ABBA-835D5BD6F21E}"/>
                </a:ext>
              </a:extLst>
            </p:cNvPr>
            <p:cNvSpPr/>
            <p:nvPr/>
          </p:nvSpPr>
          <p:spPr>
            <a:xfrm>
              <a:off x="1807750" y="694176"/>
              <a:ext cx="164540" cy="94938"/>
            </a:xfrm>
            <a:custGeom>
              <a:avLst/>
              <a:gdLst/>
              <a:ahLst/>
              <a:cxnLst/>
              <a:rect l="l" t="t" r="r" b="b"/>
              <a:pathLst>
                <a:path w="164544" h="95000">
                  <a:moveTo>
                    <a:pt x="164544" y="0"/>
                  </a:moveTo>
                  <a:lnTo>
                    <a:pt x="0" y="9500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266" name="BondLine19">
              <a:extLst>
                <a:ext uri="{FF2B5EF4-FFF2-40B4-BE49-F238E27FC236}">
                  <a16:creationId xmlns:a16="http://schemas.microsoft.com/office/drawing/2014/main" id="{C059D03D-1902-4982-B06F-67D82EDED82E}"/>
                </a:ext>
              </a:extLst>
            </p:cNvPr>
            <p:cNvSpPr/>
            <p:nvPr/>
          </p:nvSpPr>
          <p:spPr>
            <a:xfrm>
              <a:off x="1972290" y="504299"/>
              <a:ext cx="0" cy="189877"/>
            </a:xfrm>
            <a:custGeom>
              <a:avLst/>
              <a:gdLst/>
              <a:ahLst/>
              <a:cxnLst/>
              <a:rect l="l" t="t" r="r" b="b"/>
              <a:pathLst>
                <a:path h="190000">
                  <a:moveTo>
                    <a:pt x="0" y="0"/>
                  </a:moveTo>
                  <a:lnTo>
                    <a:pt x="0" y="19000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267" name="BondLine20">
              <a:extLst>
                <a:ext uri="{FF2B5EF4-FFF2-40B4-BE49-F238E27FC236}">
                  <a16:creationId xmlns:a16="http://schemas.microsoft.com/office/drawing/2014/main" id="{284024EA-8919-4166-A830-B7A5007CF024}"/>
                </a:ext>
              </a:extLst>
            </p:cNvPr>
            <p:cNvSpPr/>
            <p:nvPr/>
          </p:nvSpPr>
          <p:spPr>
            <a:xfrm>
              <a:off x="1934291" y="526224"/>
              <a:ext cx="0" cy="146026"/>
            </a:xfrm>
            <a:custGeom>
              <a:avLst/>
              <a:gdLst/>
              <a:ahLst/>
              <a:cxnLst/>
              <a:rect l="l" t="t" r="r" b="b"/>
              <a:pathLst>
                <a:path h="146121">
                  <a:moveTo>
                    <a:pt x="0" y="0"/>
                  </a:moveTo>
                  <a:lnTo>
                    <a:pt x="0" y="146121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268" name="BondLine21">
              <a:extLst>
                <a:ext uri="{FF2B5EF4-FFF2-40B4-BE49-F238E27FC236}">
                  <a16:creationId xmlns:a16="http://schemas.microsoft.com/office/drawing/2014/main" id="{C052DB5E-5BE8-4A02-AE86-F55A9326372E}"/>
                </a:ext>
              </a:extLst>
            </p:cNvPr>
            <p:cNvSpPr/>
            <p:nvPr/>
          </p:nvSpPr>
          <p:spPr>
            <a:xfrm>
              <a:off x="1643209" y="694176"/>
              <a:ext cx="164541" cy="94938"/>
            </a:xfrm>
            <a:custGeom>
              <a:avLst/>
              <a:gdLst/>
              <a:ahLst/>
              <a:cxnLst/>
              <a:rect l="l" t="t" r="r" b="b"/>
              <a:pathLst>
                <a:path w="164545" h="95000">
                  <a:moveTo>
                    <a:pt x="164545" y="95000"/>
                  </a:moveTo>
                  <a:lnTo>
                    <a:pt x="0" y="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269" name="BondLine22">
              <a:extLst>
                <a:ext uri="{FF2B5EF4-FFF2-40B4-BE49-F238E27FC236}">
                  <a16:creationId xmlns:a16="http://schemas.microsoft.com/office/drawing/2014/main" id="{3F3FF802-842C-4740-B59B-EE5D77E74553}"/>
                </a:ext>
              </a:extLst>
            </p:cNvPr>
            <p:cNvSpPr/>
            <p:nvPr/>
          </p:nvSpPr>
          <p:spPr>
            <a:xfrm>
              <a:off x="1681208" y="672251"/>
              <a:ext cx="126542" cy="73013"/>
            </a:xfrm>
            <a:custGeom>
              <a:avLst/>
              <a:gdLst/>
              <a:ahLst/>
              <a:cxnLst/>
              <a:rect l="l" t="t" r="r" b="b"/>
              <a:pathLst>
                <a:path w="126545" h="73060">
                  <a:moveTo>
                    <a:pt x="126545" y="73060"/>
                  </a:moveTo>
                  <a:lnTo>
                    <a:pt x="0" y="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270" name="BondLine23">
              <a:extLst>
                <a:ext uri="{FF2B5EF4-FFF2-40B4-BE49-F238E27FC236}">
                  <a16:creationId xmlns:a16="http://schemas.microsoft.com/office/drawing/2014/main" id="{862D8F7E-6F56-4C78-839D-89C13A7BEE1C}"/>
                </a:ext>
              </a:extLst>
            </p:cNvPr>
            <p:cNvSpPr/>
            <p:nvPr/>
          </p:nvSpPr>
          <p:spPr>
            <a:xfrm>
              <a:off x="1643209" y="504299"/>
              <a:ext cx="0" cy="189877"/>
            </a:xfrm>
            <a:custGeom>
              <a:avLst/>
              <a:gdLst/>
              <a:ahLst/>
              <a:cxnLst/>
              <a:rect l="l" t="t" r="r" b="b"/>
              <a:pathLst>
                <a:path h="190000">
                  <a:moveTo>
                    <a:pt x="0" y="190000"/>
                  </a:moveTo>
                  <a:lnTo>
                    <a:pt x="0" y="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271" name="BondLine24">
              <a:extLst>
                <a:ext uri="{FF2B5EF4-FFF2-40B4-BE49-F238E27FC236}">
                  <a16:creationId xmlns:a16="http://schemas.microsoft.com/office/drawing/2014/main" id="{576CF14A-C2A4-4980-B76B-9872BC792C89}"/>
                </a:ext>
              </a:extLst>
            </p:cNvPr>
            <p:cNvSpPr/>
            <p:nvPr/>
          </p:nvSpPr>
          <p:spPr>
            <a:xfrm>
              <a:off x="1643209" y="409361"/>
              <a:ext cx="164541" cy="94938"/>
            </a:xfrm>
            <a:custGeom>
              <a:avLst/>
              <a:gdLst/>
              <a:ahLst/>
              <a:cxnLst/>
              <a:rect l="l" t="t" r="r" b="b"/>
              <a:pathLst>
                <a:path w="164545" h="95000">
                  <a:moveTo>
                    <a:pt x="0" y="95000"/>
                  </a:moveTo>
                  <a:lnTo>
                    <a:pt x="164545" y="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272" name="BondLine25">
              <a:extLst>
                <a:ext uri="{FF2B5EF4-FFF2-40B4-BE49-F238E27FC236}">
                  <a16:creationId xmlns:a16="http://schemas.microsoft.com/office/drawing/2014/main" id="{3E0548AF-AEFF-466F-829E-D493FCB8A751}"/>
                </a:ext>
              </a:extLst>
            </p:cNvPr>
            <p:cNvSpPr/>
            <p:nvPr/>
          </p:nvSpPr>
          <p:spPr>
            <a:xfrm>
              <a:off x="1681208" y="453211"/>
              <a:ext cx="126542" cy="73013"/>
            </a:xfrm>
            <a:custGeom>
              <a:avLst/>
              <a:gdLst/>
              <a:ahLst/>
              <a:cxnLst/>
              <a:rect l="l" t="t" r="r" b="b"/>
              <a:pathLst>
                <a:path w="126545" h="73060">
                  <a:moveTo>
                    <a:pt x="0" y="73060"/>
                  </a:moveTo>
                  <a:lnTo>
                    <a:pt x="126545" y="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273" name="BondLine26">
              <a:extLst>
                <a:ext uri="{FF2B5EF4-FFF2-40B4-BE49-F238E27FC236}">
                  <a16:creationId xmlns:a16="http://schemas.microsoft.com/office/drawing/2014/main" id="{EFFEF7AD-620C-4038-B147-1D481343D74F}"/>
                </a:ext>
              </a:extLst>
            </p:cNvPr>
            <p:cNvSpPr/>
            <p:nvPr/>
          </p:nvSpPr>
          <p:spPr>
            <a:xfrm>
              <a:off x="1478668" y="409361"/>
              <a:ext cx="164540" cy="94938"/>
            </a:xfrm>
            <a:custGeom>
              <a:avLst/>
              <a:gdLst/>
              <a:ahLst/>
              <a:cxnLst/>
              <a:rect l="l" t="t" r="r" b="b"/>
              <a:pathLst>
                <a:path w="164544" h="95000">
                  <a:moveTo>
                    <a:pt x="164544" y="95000"/>
                  </a:moveTo>
                  <a:lnTo>
                    <a:pt x="0" y="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274" name="BondLine27">
              <a:extLst>
                <a:ext uri="{FF2B5EF4-FFF2-40B4-BE49-F238E27FC236}">
                  <a16:creationId xmlns:a16="http://schemas.microsoft.com/office/drawing/2014/main" id="{99C29F51-A568-484D-9A92-A26D62A0715C}"/>
                </a:ext>
              </a:extLst>
            </p:cNvPr>
            <p:cNvSpPr/>
            <p:nvPr/>
          </p:nvSpPr>
          <p:spPr>
            <a:xfrm>
              <a:off x="1807750" y="409361"/>
              <a:ext cx="164540" cy="94938"/>
            </a:xfrm>
            <a:custGeom>
              <a:avLst/>
              <a:gdLst/>
              <a:ahLst/>
              <a:cxnLst/>
              <a:rect l="l" t="t" r="r" b="b"/>
              <a:pathLst>
                <a:path w="164544" h="95000">
                  <a:moveTo>
                    <a:pt x="0" y="0"/>
                  </a:moveTo>
                  <a:lnTo>
                    <a:pt x="164544" y="9500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275" name="BondLine28">
              <a:extLst>
                <a:ext uri="{FF2B5EF4-FFF2-40B4-BE49-F238E27FC236}">
                  <a16:creationId xmlns:a16="http://schemas.microsoft.com/office/drawing/2014/main" id="{92C17830-1946-41E5-8F4E-90DA6EEBF934}"/>
                </a:ext>
              </a:extLst>
            </p:cNvPr>
            <p:cNvSpPr/>
            <p:nvPr/>
          </p:nvSpPr>
          <p:spPr>
            <a:xfrm>
              <a:off x="1314128" y="409361"/>
              <a:ext cx="164540" cy="94938"/>
            </a:xfrm>
            <a:custGeom>
              <a:avLst/>
              <a:gdLst/>
              <a:ahLst/>
              <a:cxnLst/>
              <a:rect l="l" t="t" r="r" b="b"/>
              <a:pathLst>
                <a:path w="164544" h="95000">
                  <a:moveTo>
                    <a:pt x="164544" y="0"/>
                  </a:moveTo>
                  <a:lnTo>
                    <a:pt x="0" y="9500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276" name="BondLine29">
              <a:extLst>
                <a:ext uri="{FF2B5EF4-FFF2-40B4-BE49-F238E27FC236}">
                  <a16:creationId xmlns:a16="http://schemas.microsoft.com/office/drawing/2014/main" id="{ABE7C621-FEE6-4AD1-BFEC-FF0A39F3C530}"/>
                </a:ext>
              </a:extLst>
            </p:cNvPr>
            <p:cNvSpPr/>
            <p:nvPr/>
          </p:nvSpPr>
          <p:spPr>
            <a:xfrm>
              <a:off x="1478668" y="283625"/>
              <a:ext cx="0" cy="125735"/>
            </a:xfrm>
            <a:custGeom>
              <a:avLst/>
              <a:gdLst/>
              <a:ahLst/>
              <a:cxnLst/>
              <a:rect l="l" t="t" r="r" b="b"/>
              <a:pathLst>
                <a:path h="125817">
                  <a:moveTo>
                    <a:pt x="0" y="125817"/>
                  </a:moveTo>
                  <a:lnTo>
                    <a:pt x="0" y="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277" name="BondLine30">
              <a:extLst>
                <a:ext uri="{FF2B5EF4-FFF2-40B4-BE49-F238E27FC236}">
                  <a16:creationId xmlns:a16="http://schemas.microsoft.com/office/drawing/2014/main" id="{5A509DEB-C920-4FB0-9F55-4EEBFF23CE68}"/>
                </a:ext>
              </a:extLst>
            </p:cNvPr>
            <p:cNvSpPr/>
            <p:nvPr/>
          </p:nvSpPr>
          <p:spPr>
            <a:xfrm>
              <a:off x="1365488" y="344056"/>
              <a:ext cx="113179" cy="65304"/>
            </a:xfrm>
            <a:custGeom>
              <a:avLst/>
              <a:gdLst/>
              <a:ahLst/>
              <a:cxnLst/>
              <a:rect l="l" t="t" r="r" b="b"/>
              <a:pathLst>
                <a:path w="113182" h="65346">
                  <a:moveTo>
                    <a:pt x="113182" y="65346"/>
                  </a:moveTo>
                  <a:lnTo>
                    <a:pt x="0" y="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278" name="BondLine31">
              <a:extLst>
                <a:ext uri="{FF2B5EF4-FFF2-40B4-BE49-F238E27FC236}">
                  <a16:creationId xmlns:a16="http://schemas.microsoft.com/office/drawing/2014/main" id="{AEE032E9-D019-49F1-9339-036F36D33846}"/>
                </a:ext>
              </a:extLst>
            </p:cNvPr>
            <p:cNvSpPr/>
            <p:nvPr/>
          </p:nvSpPr>
          <p:spPr>
            <a:xfrm>
              <a:off x="1314128" y="504299"/>
              <a:ext cx="0" cy="189877"/>
            </a:xfrm>
            <a:custGeom>
              <a:avLst/>
              <a:gdLst/>
              <a:ahLst/>
              <a:cxnLst/>
              <a:rect l="l" t="t" r="r" b="b"/>
              <a:pathLst>
                <a:path h="190000">
                  <a:moveTo>
                    <a:pt x="0" y="0"/>
                  </a:moveTo>
                  <a:lnTo>
                    <a:pt x="0" y="19000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279" name="BondLine32">
              <a:extLst>
                <a:ext uri="{FF2B5EF4-FFF2-40B4-BE49-F238E27FC236}">
                  <a16:creationId xmlns:a16="http://schemas.microsoft.com/office/drawing/2014/main" id="{FF81FCA0-0180-4CA8-B8B7-CE4D3F24648C}"/>
                </a:ext>
              </a:extLst>
            </p:cNvPr>
            <p:cNvSpPr/>
            <p:nvPr/>
          </p:nvSpPr>
          <p:spPr>
            <a:xfrm>
              <a:off x="1149587" y="409361"/>
              <a:ext cx="164540" cy="94938"/>
            </a:xfrm>
            <a:custGeom>
              <a:avLst/>
              <a:gdLst/>
              <a:ahLst/>
              <a:cxnLst/>
              <a:rect l="l" t="t" r="r" b="b"/>
              <a:pathLst>
                <a:path w="164544" h="95000">
                  <a:moveTo>
                    <a:pt x="0" y="0"/>
                  </a:moveTo>
                  <a:lnTo>
                    <a:pt x="164544" y="9500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280" name="BondLine33">
              <a:extLst>
                <a:ext uri="{FF2B5EF4-FFF2-40B4-BE49-F238E27FC236}">
                  <a16:creationId xmlns:a16="http://schemas.microsoft.com/office/drawing/2014/main" id="{E199585A-0DEC-49F1-A4C6-DDFD730A5A03}"/>
                </a:ext>
              </a:extLst>
            </p:cNvPr>
            <p:cNvSpPr/>
            <p:nvPr/>
          </p:nvSpPr>
          <p:spPr>
            <a:xfrm>
              <a:off x="1149587" y="453211"/>
              <a:ext cx="126541" cy="73013"/>
            </a:xfrm>
            <a:custGeom>
              <a:avLst/>
              <a:gdLst/>
              <a:ahLst/>
              <a:cxnLst/>
              <a:rect l="l" t="t" r="r" b="b"/>
              <a:pathLst>
                <a:path w="126544" h="73060">
                  <a:moveTo>
                    <a:pt x="0" y="0"/>
                  </a:moveTo>
                  <a:lnTo>
                    <a:pt x="126544" y="7306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281" name="BondLine34">
              <a:extLst>
                <a:ext uri="{FF2B5EF4-FFF2-40B4-BE49-F238E27FC236}">
                  <a16:creationId xmlns:a16="http://schemas.microsoft.com/office/drawing/2014/main" id="{EF3746D4-639F-4030-AE0F-6711BD27C788}"/>
                </a:ext>
              </a:extLst>
            </p:cNvPr>
            <p:cNvSpPr/>
            <p:nvPr/>
          </p:nvSpPr>
          <p:spPr>
            <a:xfrm>
              <a:off x="1149587" y="694176"/>
              <a:ext cx="164540" cy="94938"/>
            </a:xfrm>
            <a:custGeom>
              <a:avLst/>
              <a:gdLst/>
              <a:ahLst/>
              <a:cxnLst/>
              <a:rect l="l" t="t" r="r" b="b"/>
              <a:pathLst>
                <a:path w="164544" h="95000">
                  <a:moveTo>
                    <a:pt x="164544" y="0"/>
                  </a:moveTo>
                  <a:lnTo>
                    <a:pt x="0" y="9500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282" name="BondLine35">
              <a:extLst>
                <a:ext uri="{FF2B5EF4-FFF2-40B4-BE49-F238E27FC236}">
                  <a16:creationId xmlns:a16="http://schemas.microsoft.com/office/drawing/2014/main" id="{B81A7074-E1CA-4F90-9B5D-E2DB4AF514F6}"/>
                </a:ext>
              </a:extLst>
            </p:cNvPr>
            <p:cNvSpPr/>
            <p:nvPr/>
          </p:nvSpPr>
          <p:spPr>
            <a:xfrm>
              <a:off x="1149587" y="672251"/>
              <a:ext cx="126541" cy="73013"/>
            </a:xfrm>
            <a:custGeom>
              <a:avLst/>
              <a:gdLst/>
              <a:ahLst/>
              <a:cxnLst/>
              <a:rect l="l" t="t" r="r" b="b"/>
              <a:pathLst>
                <a:path w="126544" h="73060">
                  <a:moveTo>
                    <a:pt x="126544" y="0"/>
                  </a:moveTo>
                  <a:lnTo>
                    <a:pt x="0" y="7306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283" name="BondLine36">
              <a:extLst>
                <a:ext uri="{FF2B5EF4-FFF2-40B4-BE49-F238E27FC236}">
                  <a16:creationId xmlns:a16="http://schemas.microsoft.com/office/drawing/2014/main" id="{83B95DEB-67E6-4A6C-9B8C-35109D9EAA2E}"/>
                </a:ext>
              </a:extLst>
            </p:cNvPr>
            <p:cNvSpPr/>
            <p:nvPr/>
          </p:nvSpPr>
          <p:spPr>
            <a:xfrm>
              <a:off x="985047" y="694176"/>
              <a:ext cx="164540" cy="94938"/>
            </a:xfrm>
            <a:custGeom>
              <a:avLst/>
              <a:gdLst/>
              <a:ahLst/>
              <a:cxnLst/>
              <a:rect l="l" t="t" r="r" b="b"/>
              <a:pathLst>
                <a:path w="164544" h="95000">
                  <a:moveTo>
                    <a:pt x="164544" y="95000"/>
                  </a:moveTo>
                  <a:lnTo>
                    <a:pt x="0" y="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284" name="BondLine37">
              <a:extLst>
                <a:ext uri="{FF2B5EF4-FFF2-40B4-BE49-F238E27FC236}">
                  <a16:creationId xmlns:a16="http://schemas.microsoft.com/office/drawing/2014/main" id="{3D04CF3F-09CC-4C62-9D43-D3C1A6859B01}"/>
                </a:ext>
              </a:extLst>
            </p:cNvPr>
            <p:cNvSpPr/>
            <p:nvPr/>
          </p:nvSpPr>
          <p:spPr>
            <a:xfrm>
              <a:off x="985047" y="504299"/>
              <a:ext cx="0" cy="189877"/>
            </a:xfrm>
            <a:custGeom>
              <a:avLst/>
              <a:gdLst/>
              <a:ahLst/>
              <a:cxnLst/>
              <a:rect l="l" t="t" r="r" b="b"/>
              <a:pathLst>
                <a:path h="190000">
                  <a:moveTo>
                    <a:pt x="0" y="190000"/>
                  </a:moveTo>
                  <a:lnTo>
                    <a:pt x="0" y="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285" name="BondLine38">
              <a:extLst>
                <a:ext uri="{FF2B5EF4-FFF2-40B4-BE49-F238E27FC236}">
                  <a16:creationId xmlns:a16="http://schemas.microsoft.com/office/drawing/2014/main" id="{9F07CA38-C5B7-48E6-A2EE-3EECC1DF8C74}"/>
                </a:ext>
              </a:extLst>
            </p:cNvPr>
            <p:cNvSpPr/>
            <p:nvPr/>
          </p:nvSpPr>
          <p:spPr>
            <a:xfrm>
              <a:off x="1023046" y="526224"/>
              <a:ext cx="0" cy="146026"/>
            </a:xfrm>
            <a:custGeom>
              <a:avLst/>
              <a:gdLst/>
              <a:ahLst/>
              <a:cxnLst/>
              <a:rect l="l" t="t" r="r" b="b"/>
              <a:pathLst>
                <a:path h="146121">
                  <a:moveTo>
                    <a:pt x="0" y="146121"/>
                  </a:moveTo>
                  <a:lnTo>
                    <a:pt x="0" y="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286" name="BondLine39">
              <a:extLst>
                <a:ext uri="{FF2B5EF4-FFF2-40B4-BE49-F238E27FC236}">
                  <a16:creationId xmlns:a16="http://schemas.microsoft.com/office/drawing/2014/main" id="{3999FA45-A199-432B-935E-4EE1768868B3}"/>
                </a:ext>
              </a:extLst>
            </p:cNvPr>
            <p:cNvSpPr/>
            <p:nvPr/>
          </p:nvSpPr>
          <p:spPr>
            <a:xfrm>
              <a:off x="875098" y="694176"/>
              <a:ext cx="109948" cy="63439"/>
            </a:xfrm>
            <a:custGeom>
              <a:avLst/>
              <a:gdLst/>
              <a:ahLst/>
              <a:cxnLst/>
              <a:rect l="l" t="t" r="r" b="b"/>
              <a:pathLst>
                <a:path w="109951" h="63480">
                  <a:moveTo>
                    <a:pt x="109951" y="0"/>
                  </a:moveTo>
                  <a:lnTo>
                    <a:pt x="0" y="6348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287" name="BondLine40">
              <a:extLst>
                <a:ext uri="{FF2B5EF4-FFF2-40B4-BE49-F238E27FC236}">
                  <a16:creationId xmlns:a16="http://schemas.microsoft.com/office/drawing/2014/main" id="{4E70D9E0-42BF-465B-BFF7-BC9C13A4C8B0}"/>
                </a:ext>
              </a:extLst>
            </p:cNvPr>
            <p:cNvSpPr/>
            <p:nvPr/>
          </p:nvSpPr>
          <p:spPr>
            <a:xfrm>
              <a:off x="985047" y="409361"/>
              <a:ext cx="164540" cy="94938"/>
            </a:xfrm>
            <a:custGeom>
              <a:avLst/>
              <a:gdLst/>
              <a:ahLst/>
              <a:cxnLst/>
              <a:rect l="l" t="t" r="r" b="b"/>
              <a:pathLst>
                <a:path w="164544" h="95000">
                  <a:moveTo>
                    <a:pt x="0" y="95000"/>
                  </a:moveTo>
                  <a:lnTo>
                    <a:pt x="164544" y="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288" name="BondLine41">
              <a:extLst>
                <a:ext uri="{FF2B5EF4-FFF2-40B4-BE49-F238E27FC236}">
                  <a16:creationId xmlns:a16="http://schemas.microsoft.com/office/drawing/2014/main" id="{BC1E3350-102B-44ED-8174-AA6E026CBCA2}"/>
                </a:ext>
              </a:extLst>
            </p:cNvPr>
            <p:cNvSpPr/>
            <p:nvPr/>
          </p:nvSpPr>
          <p:spPr>
            <a:xfrm>
              <a:off x="674965" y="705138"/>
              <a:ext cx="90949" cy="52476"/>
            </a:xfrm>
            <a:custGeom>
              <a:avLst/>
              <a:gdLst/>
              <a:ahLst/>
              <a:cxnLst/>
              <a:rect l="l" t="t" r="r" b="b"/>
              <a:pathLst>
                <a:path w="90951" h="52510">
                  <a:moveTo>
                    <a:pt x="90951" y="52510"/>
                  </a:moveTo>
                  <a:lnTo>
                    <a:pt x="0" y="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289" name="BondLine42">
              <a:extLst>
                <a:ext uri="{FF2B5EF4-FFF2-40B4-BE49-F238E27FC236}">
                  <a16:creationId xmlns:a16="http://schemas.microsoft.com/office/drawing/2014/main" id="{ED218262-FD22-498C-AE20-A8490E785789}"/>
                </a:ext>
              </a:extLst>
            </p:cNvPr>
            <p:cNvSpPr/>
            <p:nvPr/>
          </p:nvSpPr>
          <p:spPr>
            <a:xfrm>
              <a:off x="546017" y="705138"/>
              <a:ext cx="90949" cy="52476"/>
            </a:xfrm>
            <a:custGeom>
              <a:avLst/>
              <a:gdLst/>
              <a:ahLst/>
              <a:cxnLst/>
              <a:rect l="l" t="t" r="r" b="b"/>
              <a:pathLst>
                <a:path w="90951" h="52510">
                  <a:moveTo>
                    <a:pt x="90951" y="0"/>
                  </a:moveTo>
                  <a:lnTo>
                    <a:pt x="0" y="5251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290" name="BondLine43">
              <a:extLst>
                <a:ext uri="{FF2B5EF4-FFF2-40B4-BE49-F238E27FC236}">
                  <a16:creationId xmlns:a16="http://schemas.microsoft.com/office/drawing/2014/main" id="{F773B13C-7636-4477-9D8D-E814C930C259}"/>
                </a:ext>
              </a:extLst>
            </p:cNvPr>
            <p:cNvSpPr/>
            <p:nvPr/>
          </p:nvSpPr>
          <p:spPr>
            <a:xfrm>
              <a:off x="674965" y="563883"/>
              <a:ext cx="0" cy="141255"/>
            </a:xfrm>
            <a:custGeom>
              <a:avLst/>
              <a:gdLst/>
              <a:ahLst/>
              <a:cxnLst/>
              <a:rect l="l" t="t" r="r" b="b"/>
              <a:pathLst>
                <a:path h="141347">
                  <a:moveTo>
                    <a:pt x="0" y="141347"/>
                  </a:moveTo>
                  <a:lnTo>
                    <a:pt x="0" y="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291" name="BondLine44">
              <a:extLst>
                <a:ext uri="{FF2B5EF4-FFF2-40B4-BE49-F238E27FC236}">
                  <a16:creationId xmlns:a16="http://schemas.microsoft.com/office/drawing/2014/main" id="{5A54603B-41CB-4908-B792-FBF7B435C1BF}"/>
                </a:ext>
              </a:extLst>
            </p:cNvPr>
            <p:cNvSpPr/>
            <p:nvPr/>
          </p:nvSpPr>
          <p:spPr>
            <a:xfrm>
              <a:off x="636966" y="563883"/>
              <a:ext cx="0" cy="141254"/>
            </a:xfrm>
            <a:custGeom>
              <a:avLst/>
              <a:gdLst/>
              <a:ahLst/>
              <a:cxnLst/>
              <a:rect l="l" t="t" r="r" b="b"/>
              <a:pathLst>
                <a:path h="141346">
                  <a:moveTo>
                    <a:pt x="0" y="141346"/>
                  </a:moveTo>
                  <a:lnTo>
                    <a:pt x="0" y="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292" name="BondLine45">
              <a:extLst>
                <a:ext uri="{FF2B5EF4-FFF2-40B4-BE49-F238E27FC236}">
                  <a16:creationId xmlns:a16="http://schemas.microsoft.com/office/drawing/2014/main" id="{D3E1A003-E6AB-4538-B920-3026782EA169}"/>
                </a:ext>
              </a:extLst>
            </p:cNvPr>
            <p:cNvSpPr/>
            <p:nvPr/>
          </p:nvSpPr>
          <p:spPr>
            <a:xfrm>
              <a:off x="326884" y="694176"/>
              <a:ext cx="109948" cy="63439"/>
            </a:xfrm>
            <a:custGeom>
              <a:avLst/>
              <a:gdLst/>
              <a:ahLst/>
              <a:cxnLst/>
              <a:rect l="l" t="t" r="r" b="b"/>
              <a:pathLst>
                <a:path w="109951" h="63480">
                  <a:moveTo>
                    <a:pt x="109951" y="63480"/>
                  </a:moveTo>
                  <a:lnTo>
                    <a:pt x="0" y="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293" name="BondLine46">
              <a:extLst>
                <a:ext uri="{FF2B5EF4-FFF2-40B4-BE49-F238E27FC236}">
                  <a16:creationId xmlns:a16="http://schemas.microsoft.com/office/drawing/2014/main" id="{44DB9FF4-83EC-42CE-89AF-BF99ACAF2E3C}"/>
                </a:ext>
              </a:extLst>
            </p:cNvPr>
            <p:cNvSpPr/>
            <p:nvPr/>
          </p:nvSpPr>
          <p:spPr>
            <a:xfrm>
              <a:off x="162344" y="694176"/>
              <a:ext cx="164540" cy="94938"/>
            </a:xfrm>
            <a:custGeom>
              <a:avLst/>
              <a:gdLst/>
              <a:ahLst/>
              <a:cxnLst/>
              <a:rect l="l" t="t" r="r" b="b"/>
              <a:pathLst>
                <a:path w="164544" h="95000">
                  <a:moveTo>
                    <a:pt x="164544" y="0"/>
                  </a:moveTo>
                  <a:lnTo>
                    <a:pt x="0" y="9500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294" name="BondLine47">
              <a:extLst>
                <a:ext uri="{FF2B5EF4-FFF2-40B4-BE49-F238E27FC236}">
                  <a16:creationId xmlns:a16="http://schemas.microsoft.com/office/drawing/2014/main" id="{6AD9ED96-C1A1-4D2D-B07E-7329417D3F54}"/>
                </a:ext>
              </a:extLst>
            </p:cNvPr>
            <p:cNvSpPr/>
            <p:nvPr/>
          </p:nvSpPr>
          <p:spPr>
            <a:xfrm>
              <a:off x="326884" y="504299"/>
              <a:ext cx="0" cy="189877"/>
            </a:xfrm>
            <a:custGeom>
              <a:avLst/>
              <a:gdLst/>
              <a:ahLst/>
              <a:cxnLst/>
              <a:rect l="l" t="t" r="r" b="b"/>
              <a:pathLst>
                <a:path h="190000">
                  <a:moveTo>
                    <a:pt x="0" y="0"/>
                  </a:moveTo>
                  <a:lnTo>
                    <a:pt x="0" y="19000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295" name="BondLine48">
              <a:extLst>
                <a:ext uri="{FF2B5EF4-FFF2-40B4-BE49-F238E27FC236}">
                  <a16:creationId xmlns:a16="http://schemas.microsoft.com/office/drawing/2014/main" id="{5C448B10-B6BD-4768-8587-28780E293DCC}"/>
                </a:ext>
              </a:extLst>
            </p:cNvPr>
            <p:cNvSpPr/>
            <p:nvPr/>
          </p:nvSpPr>
          <p:spPr>
            <a:xfrm>
              <a:off x="288885" y="526224"/>
              <a:ext cx="0" cy="146026"/>
            </a:xfrm>
            <a:custGeom>
              <a:avLst/>
              <a:gdLst/>
              <a:ahLst/>
              <a:cxnLst/>
              <a:rect l="l" t="t" r="r" b="b"/>
              <a:pathLst>
                <a:path h="146121">
                  <a:moveTo>
                    <a:pt x="0" y="0"/>
                  </a:moveTo>
                  <a:lnTo>
                    <a:pt x="0" y="146121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296" name="BondLine54">
              <a:extLst>
                <a:ext uri="{FF2B5EF4-FFF2-40B4-BE49-F238E27FC236}">
                  <a16:creationId xmlns:a16="http://schemas.microsoft.com/office/drawing/2014/main" id="{356C6570-3255-4A46-AB54-6F707A6FFEE3}"/>
                </a:ext>
              </a:extLst>
            </p:cNvPr>
            <p:cNvSpPr/>
            <p:nvPr/>
          </p:nvSpPr>
          <p:spPr>
            <a:xfrm>
              <a:off x="162344" y="409361"/>
              <a:ext cx="164540" cy="94938"/>
            </a:xfrm>
            <a:custGeom>
              <a:avLst/>
              <a:gdLst/>
              <a:ahLst/>
              <a:cxnLst/>
              <a:rect l="l" t="t" r="r" b="b"/>
              <a:pathLst>
                <a:path w="164544" h="95000">
                  <a:moveTo>
                    <a:pt x="0" y="0"/>
                  </a:moveTo>
                  <a:lnTo>
                    <a:pt x="164544" y="9500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297" name="BondLine55">
              <a:extLst>
                <a:ext uri="{FF2B5EF4-FFF2-40B4-BE49-F238E27FC236}">
                  <a16:creationId xmlns:a16="http://schemas.microsoft.com/office/drawing/2014/main" id="{60BC102B-58D6-40BF-9DD3-802AA5B55F41}"/>
                </a:ext>
              </a:extLst>
            </p:cNvPr>
            <p:cNvSpPr/>
            <p:nvPr/>
          </p:nvSpPr>
          <p:spPr>
            <a:xfrm>
              <a:off x="3124074" y="409361"/>
              <a:ext cx="164540" cy="94938"/>
            </a:xfrm>
            <a:custGeom>
              <a:avLst/>
              <a:gdLst/>
              <a:ahLst/>
              <a:cxnLst/>
              <a:rect l="l" t="t" r="r" b="b"/>
              <a:pathLst>
                <a:path w="164544" h="95000">
                  <a:moveTo>
                    <a:pt x="0" y="0"/>
                  </a:moveTo>
                  <a:lnTo>
                    <a:pt x="164544" y="9500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298" name="BondLine56">
              <a:extLst>
                <a:ext uri="{FF2B5EF4-FFF2-40B4-BE49-F238E27FC236}">
                  <a16:creationId xmlns:a16="http://schemas.microsoft.com/office/drawing/2014/main" id="{974170FC-471F-41DA-A117-77D8FC3B2C64}"/>
                </a:ext>
              </a:extLst>
            </p:cNvPr>
            <p:cNvSpPr/>
            <p:nvPr/>
          </p:nvSpPr>
          <p:spPr>
            <a:xfrm>
              <a:off x="3124074" y="283625"/>
              <a:ext cx="0" cy="125735"/>
            </a:xfrm>
            <a:custGeom>
              <a:avLst/>
              <a:gdLst/>
              <a:ahLst/>
              <a:cxnLst/>
              <a:rect l="l" t="t" r="r" b="b"/>
              <a:pathLst>
                <a:path h="125817">
                  <a:moveTo>
                    <a:pt x="0" y="125817"/>
                  </a:moveTo>
                  <a:lnTo>
                    <a:pt x="0" y="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299" name="BondLine57">
              <a:extLst>
                <a:ext uri="{FF2B5EF4-FFF2-40B4-BE49-F238E27FC236}">
                  <a16:creationId xmlns:a16="http://schemas.microsoft.com/office/drawing/2014/main" id="{CB2AD014-D065-4358-A1EE-8F234D62DF85}"/>
                </a:ext>
              </a:extLst>
            </p:cNvPr>
            <p:cNvSpPr/>
            <p:nvPr/>
          </p:nvSpPr>
          <p:spPr>
            <a:xfrm>
              <a:off x="3010894" y="344056"/>
              <a:ext cx="113179" cy="65304"/>
            </a:xfrm>
            <a:custGeom>
              <a:avLst/>
              <a:gdLst/>
              <a:ahLst/>
              <a:cxnLst/>
              <a:rect l="l" t="t" r="r" b="b"/>
              <a:pathLst>
                <a:path w="113182" h="65346">
                  <a:moveTo>
                    <a:pt x="113182" y="65346"/>
                  </a:moveTo>
                  <a:lnTo>
                    <a:pt x="0" y="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300" name="BondLine58">
              <a:extLst>
                <a:ext uri="{FF2B5EF4-FFF2-40B4-BE49-F238E27FC236}">
                  <a16:creationId xmlns:a16="http://schemas.microsoft.com/office/drawing/2014/main" id="{FACDEFB4-0E89-497E-9435-4D7B089FB3DD}"/>
                </a:ext>
              </a:extLst>
            </p:cNvPr>
            <p:cNvSpPr/>
            <p:nvPr/>
          </p:nvSpPr>
          <p:spPr>
            <a:xfrm>
              <a:off x="3288615" y="409361"/>
              <a:ext cx="164540" cy="94938"/>
            </a:xfrm>
            <a:custGeom>
              <a:avLst/>
              <a:gdLst/>
              <a:ahLst/>
              <a:cxnLst/>
              <a:rect l="l" t="t" r="r" b="b"/>
              <a:pathLst>
                <a:path w="164544" h="95000">
                  <a:moveTo>
                    <a:pt x="0" y="95000"/>
                  </a:moveTo>
                  <a:lnTo>
                    <a:pt x="164544" y="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301" name="BondLine59">
              <a:extLst>
                <a:ext uri="{FF2B5EF4-FFF2-40B4-BE49-F238E27FC236}">
                  <a16:creationId xmlns:a16="http://schemas.microsoft.com/office/drawing/2014/main" id="{372F7CCA-F34C-46F8-9BC4-882F7511A396}"/>
                </a:ext>
              </a:extLst>
            </p:cNvPr>
            <p:cNvSpPr/>
            <p:nvPr/>
          </p:nvSpPr>
          <p:spPr>
            <a:xfrm>
              <a:off x="3288615" y="504299"/>
              <a:ext cx="0" cy="189877"/>
            </a:xfrm>
            <a:custGeom>
              <a:avLst/>
              <a:gdLst/>
              <a:ahLst/>
              <a:cxnLst/>
              <a:rect l="l" t="t" r="r" b="b"/>
              <a:pathLst>
                <a:path h="190000">
                  <a:moveTo>
                    <a:pt x="0" y="190000"/>
                  </a:moveTo>
                  <a:lnTo>
                    <a:pt x="0" y="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302" name="BondLine60">
              <a:extLst>
                <a:ext uri="{FF2B5EF4-FFF2-40B4-BE49-F238E27FC236}">
                  <a16:creationId xmlns:a16="http://schemas.microsoft.com/office/drawing/2014/main" id="{5DC3BFE7-3678-40EC-B8FF-B48FCACA444D}"/>
                </a:ext>
              </a:extLst>
            </p:cNvPr>
            <p:cNvSpPr/>
            <p:nvPr/>
          </p:nvSpPr>
          <p:spPr>
            <a:xfrm>
              <a:off x="3326613" y="526224"/>
              <a:ext cx="0" cy="146026"/>
            </a:xfrm>
            <a:custGeom>
              <a:avLst/>
              <a:gdLst/>
              <a:ahLst/>
              <a:cxnLst/>
              <a:rect l="l" t="t" r="r" b="b"/>
              <a:pathLst>
                <a:path h="146121">
                  <a:moveTo>
                    <a:pt x="0" y="146121"/>
                  </a:moveTo>
                  <a:lnTo>
                    <a:pt x="0" y="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303" name="BondLine61">
              <a:extLst>
                <a:ext uri="{FF2B5EF4-FFF2-40B4-BE49-F238E27FC236}">
                  <a16:creationId xmlns:a16="http://schemas.microsoft.com/office/drawing/2014/main" id="{8E247C12-847B-4BC2-B931-BC543B92E62D}"/>
                </a:ext>
              </a:extLst>
            </p:cNvPr>
            <p:cNvSpPr/>
            <p:nvPr/>
          </p:nvSpPr>
          <p:spPr>
            <a:xfrm>
              <a:off x="3453154" y="409361"/>
              <a:ext cx="164540" cy="94938"/>
            </a:xfrm>
            <a:custGeom>
              <a:avLst/>
              <a:gdLst/>
              <a:ahLst/>
              <a:cxnLst/>
              <a:rect l="l" t="t" r="r" b="b"/>
              <a:pathLst>
                <a:path w="164544" h="95000">
                  <a:moveTo>
                    <a:pt x="0" y="0"/>
                  </a:moveTo>
                  <a:lnTo>
                    <a:pt x="164544" y="9500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304" name="BondLine62">
              <a:extLst>
                <a:ext uri="{FF2B5EF4-FFF2-40B4-BE49-F238E27FC236}">
                  <a16:creationId xmlns:a16="http://schemas.microsoft.com/office/drawing/2014/main" id="{95012A50-0F9C-4AFF-B3C1-BD841D8A42F8}"/>
                </a:ext>
              </a:extLst>
            </p:cNvPr>
            <p:cNvSpPr/>
            <p:nvPr/>
          </p:nvSpPr>
          <p:spPr>
            <a:xfrm>
              <a:off x="3453154" y="453211"/>
              <a:ext cx="126541" cy="73013"/>
            </a:xfrm>
            <a:custGeom>
              <a:avLst/>
              <a:gdLst/>
              <a:ahLst/>
              <a:cxnLst/>
              <a:rect l="l" t="t" r="r" b="b"/>
              <a:pathLst>
                <a:path w="126544" h="73060">
                  <a:moveTo>
                    <a:pt x="0" y="0"/>
                  </a:moveTo>
                  <a:lnTo>
                    <a:pt x="126544" y="7306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305" name="BondLine63">
              <a:extLst>
                <a:ext uri="{FF2B5EF4-FFF2-40B4-BE49-F238E27FC236}">
                  <a16:creationId xmlns:a16="http://schemas.microsoft.com/office/drawing/2014/main" id="{7F2884CB-B402-47E4-B278-5E5505A23734}"/>
                </a:ext>
              </a:extLst>
            </p:cNvPr>
            <p:cNvSpPr/>
            <p:nvPr/>
          </p:nvSpPr>
          <p:spPr>
            <a:xfrm>
              <a:off x="3617695" y="504299"/>
              <a:ext cx="0" cy="189877"/>
            </a:xfrm>
            <a:custGeom>
              <a:avLst/>
              <a:gdLst/>
              <a:ahLst/>
              <a:cxnLst/>
              <a:rect l="l" t="t" r="r" b="b"/>
              <a:pathLst>
                <a:path h="190000">
                  <a:moveTo>
                    <a:pt x="0" y="0"/>
                  </a:moveTo>
                  <a:lnTo>
                    <a:pt x="0" y="19000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306" name="BondLine64">
              <a:extLst>
                <a:ext uri="{FF2B5EF4-FFF2-40B4-BE49-F238E27FC236}">
                  <a16:creationId xmlns:a16="http://schemas.microsoft.com/office/drawing/2014/main" id="{44F0A9E5-D945-483E-99FD-C9E7B137EF84}"/>
                </a:ext>
              </a:extLst>
            </p:cNvPr>
            <p:cNvSpPr/>
            <p:nvPr/>
          </p:nvSpPr>
          <p:spPr>
            <a:xfrm>
              <a:off x="3453154" y="694176"/>
              <a:ext cx="164540" cy="94938"/>
            </a:xfrm>
            <a:custGeom>
              <a:avLst/>
              <a:gdLst/>
              <a:ahLst/>
              <a:cxnLst/>
              <a:rect l="l" t="t" r="r" b="b"/>
              <a:pathLst>
                <a:path w="164544" h="95000">
                  <a:moveTo>
                    <a:pt x="164544" y="0"/>
                  </a:moveTo>
                  <a:lnTo>
                    <a:pt x="0" y="9500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307" name="BondLine65">
              <a:extLst>
                <a:ext uri="{FF2B5EF4-FFF2-40B4-BE49-F238E27FC236}">
                  <a16:creationId xmlns:a16="http://schemas.microsoft.com/office/drawing/2014/main" id="{EC6BDAE2-A67A-4B9E-9EA6-DF3A59BC7A02}"/>
                </a:ext>
              </a:extLst>
            </p:cNvPr>
            <p:cNvSpPr/>
            <p:nvPr/>
          </p:nvSpPr>
          <p:spPr>
            <a:xfrm>
              <a:off x="3453154" y="672251"/>
              <a:ext cx="126541" cy="73013"/>
            </a:xfrm>
            <a:custGeom>
              <a:avLst/>
              <a:gdLst/>
              <a:ahLst/>
              <a:cxnLst/>
              <a:rect l="l" t="t" r="r" b="b"/>
              <a:pathLst>
                <a:path w="126544" h="73060">
                  <a:moveTo>
                    <a:pt x="126544" y="0"/>
                  </a:moveTo>
                  <a:lnTo>
                    <a:pt x="0" y="7306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308" name="BondLine66">
              <a:extLst>
                <a:ext uri="{FF2B5EF4-FFF2-40B4-BE49-F238E27FC236}">
                  <a16:creationId xmlns:a16="http://schemas.microsoft.com/office/drawing/2014/main" id="{54D3EEB3-B941-47B5-8871-5FBB7EE41DAB}"/>
                </a:ext>
              </a:extLst>
            </p:cNvPr>
            <p:cNvSpPr/>
            <p:nvPr/>
          </p:nvSpPr>
          <p:spPr>
            <a:xfrm>
              <a:off x="3617695" y="694176"/>
              <a:ext cx="109948" cy="63439"/>
            </a:xfrm>
            <a:custGeom>
              <a:avLst/>
              <a:gdLst/>
              <a:ahLst/>
              <a:cxnLst/>
              <a:rect l="l" t="t" r="r" b="b"/>
              <a:pathLst>
                <a:path w="109951" h="63480">
                  <a:moveTo>
                    <a:pt x="0" y="0"/>
                  </a:moveTo>
                  <a:lnTo>
                    <a:pt x="109951" y="6348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309" name="BondLine67">
              <a:extLst>
                <a:ext uri="{FF2B5EF4-FFF2-40B4-BE49-F238E27FC236}">
                  <a16:creationId xmlns:a16="http://schemas.microsoft.com/office/drawing/2014/main" id="{BCA3A130-C99A-4919-9BE6-602E6BFAB046}"/>
                </a:ext>
              </a:extLst>
            </p:cNvPr>
            <p:cNvSpPr/>
            <p:nvPr/>
          </p:nvSpPr>
          <p:spPr>
            <a:xfrm>
              <a:off x="3288615" y="694176"/>
              <a:ext cx="164540" cy="94938"/>
            </a:xfrm>
            <a:custGeom>
              <a:avLst/>
              <a:gdLst/>
              <a:ahLst/>
              <a:cxnLst/>
              <a:rect l="l" t="t" r="r" b="b"/>
              <a:pathLst>
                <a:path w="164544" h="95000">
                  <a:moveTo>
                    <a:pt x="164544" y="95000"/>
                  </a:moveTo>
                  <a:lnTo>
                    <a:pt x="0" y="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311" name="BondLine68">
              <a:extLst>
                <a:ext uri="{FF2B5EF4-FFF2-40B4-BE49-F238E27FC236}">
                  <a16:creationId xmlns:a16="http://schemas.microsoft.com/office/drawing/2014/main" id="{5329B5FC-2014-4634-A8B5-06BA5F797F76}"/>
                </a:ext>
              </a:extLst>
            </p:cNvPr>
            <p:cNvSpPr/>
            <p:nvPr/>
          </p:nvSpPr>
          <p:spPr>
            <a:xfrm>
              <a:off x="3836828" y="705138"/>
              <a:ext cx="90950" cy="52477"/>
            </a:xfrm>
            <a:custGeom>
              <a:avLst/>
              <a:gdLst/>
              <a:ahLst/>
              <a:cxnLst/>
              <a:rect l="l" t="t" r="r" b="b"/>
              <a:pathLst>
                <a:path w="90952" h="52511">
                  <a:moveTo>
                    <a:pt x="0" y="52511"/>
                  </a:moveTo>
                  <a:lnTo>
                    <a:pt x="90952" y="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312" name="BondLine69">
              <a:extLst>
                <a:ext uri="{FF2B5EF4-FFF2-40B4-BE49-F238E27FC236}">
                  <a16:creationId xmlns:a16="http://schemas.microsoft.com/office/drawing/2014/main" id="{90BB976C-BBA1-4106-A08B-99B1E6F04EB2}"/>
                </a:ext>
              </a:extLst>
            </p:cNvPr>
            <p:cNvSpPr/>
            <p:nvPr/>
          </p:nvSpPr>
          <p:spPr>
            <a:xfrm>
              <a:off x="3965776" y="705138"/>
              <a:ext cx="90949" cy="52477"/>
            </a:xfrm>
            <a:custGeom>
              <a:avLst/>
              <a:gdLst/>
              <a:ahLst/>
              <a:cxnLst/>
              <a:rect l="l" t="t" r="r" b="b"/>
              <a:pathLst>
                <a:path w="90951" h="52511">
                  <a:moveTo>
                    <a:pt x="0" y="0"/>
                  </a:moveTo>
                  <a:lnTo>
                    <a:pt x="90951" y="52511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313" name="BondLine70">
              <a:extLst>
                <a:ext uri="{FF2B5EF4-FFF2-40B4-BE49-F238E27FC236}">
                  <a16:creationId xmlns:a16="http://schemas.microsoft.com/office/drawing/2014/main" id="{4A4A8BD1-DC27-4F65-903E-D835BBEEC962}"/>
                </a:ext>
              </a:extLst>
            </p:cNvPr>
            <p:cNvSpPr/>
            <p:nvPr/>
          </p:nvSpPr>
          <p:spPr>
            <a:xfrm>
              <a:off x="3965776" y="563883"/>
              <a:ext cx="0" cy="141254"/>
            </a:xfrm>
            <a:custGeom>
              <a:avLst/>
              <a:gdLst/>
              <a:ahLst/>
              <a:cxnLst/>
              <a:rect l="l" t="t" r="r" b="b"/>
              <a:pathLst>
                <a:path h="141346">
                  <a:moveTo>
                    <a:pt x="0" y="141346"/>
                  </a:moveTo>
                  <a:lnTo>
                    <a:pt x="0" y="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314" name="BondLine71">
              <a:extLst>
                <a:ext uri="{FF2B5EF4-FFF2-40B4-BE49-F238E27FC236}">
                  <a16:creationId xmlns:a16="http://schemas.microsoft.com/office/drawing/2014/main" id="{7DFAE97F-2A9F-4C3B-9F38-CDF27C4B8DF7}"/>
                </a:ext>
              </a:extLst>
            </p:cNvPr>
            <p:cNvSpPr/>
            <p:nvPr/>
          </p:nvSpPr>
          <p:spPr>
            <a:xfrm>
              <a:off x="3927777" y="563883"/>
              <a:ext cx="0" cy="141254"/>
            </a:xfrm>
            <a:custGeom>
              <a:avLst/>
              <a:gdLst/>
              <a:ahLst/>
              <a:cxnLst/>
              <a:rect l="l" t="t" r="r" b="b"/>
              <a:pathLst>
                <a:path h="141346">
                  <a:moveTo>
                    <a:pt x="0" y="141346"/>
                  </a:moveTo>
                  <a:lnTo>
                    <a:pt x="0" y="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315" name="BondLine72">
              <a:extLst>
                <a:ext uri="{FF2B5EF4-FFF2-40B4-BE49-F238E27FC236}">
                  <a16:creationId xmlns:a16="http://schemas.microsoft.com/office/drawing/2014/main" id="{D40CD8B1-80CF-4566-8070-C0FE6FF7C17B}"/>
                </a:ext>
              </a:extLst>
            </p:cNvPr>
            <p:cNvSpPr/>
            <p:nvPr/>
          </p:nvSpPr>
          <p:spPr>
            <a:xfrm>
              <a:off x="4165909" y="694176"/>
              <a:ext cx="109948" cy="63439"/>
            </a:xfrm>
            <a:custGeom>
              <a:avLst/>
              <a:gdLst/>
              <a:ahLst/>
              <a:cxnLst/>
              <a:rect l="l" t="t" r="r" b="b"/>
              <a:pathLst>
                <a:path w="109951" h="63480">
                  <a:moveTo>
                    <a:pt x="0" y="63480"/>
                  </a:moveTo>
                  <a:lnTo>
                    <a:pt x="109951" y="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316" name="BondLine73">
              <a:extLst>
                <a:ext uri="{FF2B5EF4-FFF2-40B4-BE49-F238E27FC236}">
                  <a16:creationId xmlns:a16="http://schemas.microsoft.com/office/drawing/2014/main" id="{B523F0C1-A55A-432F-BF4F-8F26A8768BCC}"/>
                </a:ext>
              </a:extLst>
            </p:cNvPr>
            <p:cNvSpPr/>
            <p:nvPr/>
          </p:nvSpPr>
          <p:spPr>
            <a:xfrm>
              <a:off x="4275858" y="504299"/>
              <a:ext cx="0" cy="189877"/>
            </a:xfrm>
            <a:custGeom>
              <a:avLst/>
              <a:gdLst/>
              <a:ahLst/>
              <a:cxnLst/>
              <a:rect l="l" t="t" r="r" b="b"/>
              <a:pathLst>
                <a:path h="190000">
                  <a:moveTo>
                    <a:pt x="0" y="190000"/>
                  </a:moveTo>
                  <a:lnTo>
                    <a:pt x="0" y="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317" name="BondLine74">
              <a:extLst>
                <a:ext uri="{FF2B5EF4-FFF2-40B4-BE49-F238E27FC236}">
                  <a16:creationId xmlns:a16="http://schemas.microsoft.com/office/drawing/2014/main" id="{2981632D-51D7-416E-8A90-31BB85166A5B}"/>
                </a:ext>
              </a:extLst>
            </p:cNvPr>
            <p:cNvSpPr/>
            <p:nvPr/>
          </p:nvSpPr>
          <p:spPr>
            <a:xfrm>
              <a:off x="4275858" y="694176"/>
              <a:ext cx="164540" cy="94938"/>
            </a:xfrm>
            <a:custGeom>
              <a:avLst/>
              <a:gdLst/>
              <a:ahLst/>
              <a:cxnLst/>
              <a:rect l="l" t="t" r="r" b="b"/>
              <a:pathLst>
                <a:path w="164544" h="95000">
                  <a:moveTo>
                    <a:pt x="164544" y="95000"/>
                  </a:moveTo>
                  <a:lnTo>
                    <a:pt x="0" y="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318" name="BondLine75">
              <a:extLst>
                <a:ext uri="{FF2B5EF4-FFF2-40B4-BE49-F238E27FC236}">
                  <a16:creationId xmlns:a16="http://schemas.microsoft.com/office/drawing/2014/main" id="{20331C60-C69B-44B5-95DA-88B3F1B2EB28}"/>
                </a:ext>
              </a:extLst>
            </p:cNvPr>
            <p:cNvSpPr/>
            <p:nvPr/>
          </p:nvSpPr>
          <p:spPr>
            <a:xfrm>
              <a:off x="4313857" y="672251"/>
              <a:ext cx="126541" cy="73013"/>
            </a:xfrm>
            <a:custGeom>
              <a:avLst/>
              <a:gdLst/>
              <a:ahLst/>
              <a:cxnLst/>
              <a:rect l="l" t="t" r="r" b="b"/>
              <a:pathLst>
                <a:path w="126544" h="73060">
                  <a:moveTo>
                    <a:pt x="126544" y="73060"/>
                  </a:moveTo>
                  <a:lnTo>
                    <a:pt x="0" y="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319" name="BondLine76">
              <a:extLst>
                <a:ext uri="{FF2B5EF4-FFF2-40B4-BE49-F238E27FC236}">
                  <a16:creationId xmlns:a16="http://schemas.microsoft.com/office/drawing/2014/main" id="{330193D5-1ABD-4E2B-B990-48EE3B8A3D29}"/>
                </a:ext>
              </a:extLst>
            </p:cNvPr>
            <p:cNvSpPr/>
            <p:nvPr/>
          </p:nvSpPr>
          <p:spPr>
            <a:xfrm>
              <a:off x="4275858" y="409361"/>
              <a:ext cx="164540" cy="94938"/>
            </a:xfrm>
            <a:custGeom>
              <a:avLst/>
              <a:gdLst/>
              <a:ahLst/>
              <a:cxnLst/>
              <a:rect l="l" t="t" r="r" b="b"/>
              <a:pathLst>
                <a:path w="164544" h="95000">
                  <a:moveTo>
                    <a:pt x="0" y="95000"/>
                  </a:moveTo>
                  <a:lnTo>
                    <a:pt x="164544" y="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320" name="BondLine77">
              <a:extLst>
                <a:ext uri="{FF2B5EF4-FFF2-40B4-BE49-F238E27FC236}">
                  <a16:creationId xmlns:a16="http://schemas.microsoft.com/office/drawing/2014/main" id="{3F46F97C-A3DC-41A0-AFA0-E2EE6E804D50}"/>
                </a:ext>
              </a:extLst>
            </p:cNvPr>
            <p:cNvSpPr/>
            <p:nvPr/>
          </p:nvSpPr>
          <p:spPr>
            <a:xfrm>
              <a:off x="4313857" y="453211"/>
              <a:ext cx="126541" cy="73013"/>
            </a:xfrm>
            <a:custGeom>
              <a:avLst/>
              <a:gdLst/>
              <a:ahLst/>
              <a:cxnLst/>
              <a:rect l="l" t="t" r="r" b="b"/>
              <a:pathLst>
                <a:path w="126544" h="73060">
                  <a:moveTo>
                    <a:pt x="0" y="73060"/>
                  </a:moveTo>
                  <a:lnTo>
                    <a:pt x="126544" y="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321" name="BondLine78">
              <a:extLst>
                <a:ext uri="{FF2B5EF4-FFF2-40B4-BE49-F238E27FC236}">
                  <a16:creationId xmlns:a16="http://schemas.microsoft.com/office/drawing/2014/main" id="{46061453-D07D-45FD-9AA5-9A7EAAEC1A2A}"/>
                </a:ext>
              </a:extLst>
            </p:cNvPr>
            <p:cNvSpPr/>
            <p:nvPr/>
          </p:nvSpPr>
          <p:spPr>
            <a:xfrm>
              <a:off x="4440399" y="409361"/>
              <a:ext cx="164540" cy="94938"/>
            </a:xfrm>
            <a:custGeom>
              <a:avLst/>
              <a:gdLst/>
              <a:ahLst/>
              <a:cxnLst/>
              <a:rect l="l" t="t" r="r" b="b"/>
              <a:pathLst>
                <a:path w="164544" h="95000">
                  <a:moveTo>
                    <a:pt x="0" y="0"/>
                  </a:moveTo>
                  <a:lnTo>
                    <a:pt x="164544" y="9500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322" name="BondLine79">
              <a:extLst>
                <a:ext uri="{FF2B5EF4-FFF2-40B4-BE49-F238E27FC236}">
                  <a16:creationId xmlns:a16="http://schemas.microsoft.com/office/drawing/2014/main" id="{0772423F-D9E9-42A7-A4F7-0862457038DB}"/>
                </a:ext>
              </a:extLst>
            </p:cNvPr>
            <p:cNvSpPr/>
            <p:nvPr/>
          </p:nvSpPr>
          <p:spPr>
            <a:xfrm>
              <a:off x="4604939" y="504299"/>
              <a:ext cx="0" cy="189877"/>
            </a:xfrm>
            <a:custGeom>
              <a:avLst/>
              <a:gdLst/>
              <a:ahLst/>
              <a:cxnLst/>
              <a:rect l="l" t="t" r="r" b="b"/>
              <a:pathLst>
                <a:path h="190000">
                  <a:moveTo>
                    <a:pt x="0" y="0"/>
                  </a:moveTo>
                  <a:lnTo>
                    <a:pt x="0" y="19000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323" name="BondLine80">
              <a:extLst>
                <a:ext uri="{FF2B5EF4-FFF2-40B4-BE49-F238E27FC236}">
                  <a16:creationId xmlns:a16="http://schemas.microsoft.com/office/drawing/2014/main" id="{3C49B74D-A034-4A92-B33F-3190844B1558}"/>
                </a:ext>
              </a:extLst>
            </p:cNvPr>
            <p:cNvSpPr/>
            <p:nvPr/>
          </p:nvSpPr>
          <p:spPr>
            <a:xfrm>
              <a:off x="4566941" y="526224"/>
              <a:ext cx="0" cy="146026"/>
            </a:xfrm>
            <a:custGeom>
              <a:avLst/>
              <a:gdLst/>
              <a:ahLst/>
              <a:cxnLst/>
              <a:rect l="l" t="t" r="r" b="b"/>
              <a:pathLst>
                <a:path h="146121">
                  <a:moveTo>
                    <a:pt x="0" y="0"/>
                  </a:moveTo>
                  <a:lnTo>
                    <a:pt x="0" y="146121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324" name="BondLine81">
              <a:extLst>
                <a:ext uri="{FF2B5EF4-FFF2-40B4-BE49-F238E27FC236}">
                  <a16:creationId xmlns:a16="http://schemas.microsoft.com/office/drawing/2014/main" id="{482CC0AF-A7E3-4F53-9E66-607BFE86FDB0}"/>
                </a:ext>
              </a:extLst>
            </p:cNvPr>
            <p:cNvSpPr/>
            <p:nvPr/>
          </p:nvSpPr>
          <p:spPr>
            <a:xfrm>
              <a:off x="4604939" y="409361"/>
              <a:ext cx="164540" cy="94938"/>
            </a:xfrm>
            <a:custGeom>
              <a:avLst/>
              <a:gdLst/>
              <a:ahLst/>
              <a:cxnLst/>
              <a:rect l="l" t="t" r="r" b="b"/>
              <a:pathLst>
                <a:path w="164544" h="95000">
                  <a:moveTo>
                    <a:pt x="0" y="95000"/>
                  </a:moveTo>
                  <a:lnTo>
                    <a:pt x="164544" y="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325" name="BondLine82">
              <a:extLst>
                <a:ext uri="{FF2B5EF4-FFF2-40B4-BE49-F238E27FC236}">
                  <a16:creationId xmlns:a16="http://schemas.microsoft.com/office/drawing/2014/main" id="{327505A7-3A0B-4620-A666-2A1FFC227038}"/>
                </a:ext>
              </a:extLst>
            </p:cNvPr>
            <p:cNvSpPr/>
            <p:nvPr/>
          </p:nvSpPr>
          <p:spPr>
            <a:xfrm>
              <a:off x="4440399" y="694176"/>
              <a:ext cx="164540" cy="94938"/>
            </a:xfrm>
            <a:custGeom>
              <a:avLst/>
              <a:gdLst/>
              <a:ahLst/>
              <a:cxnLst/>
              <a:rect l="l" t="t" r="r" b="b"/>
              <a:pathLst>
                <a:path w="164544" h="95000">
                  <a:moveTo>
                    <a:pt x="164544" y="0"/>
                  </a:moveTo>
                  <a:lnTo>
                    <a:pt x="0" y="9500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326" name="BondLine83">
              <a:extLst>
                <a:ext uri="{FF2B5EF4-FFF2-40B4-BE49-F238E27FC236}">
                  <a16:creationId xmlns:a16="http://schemas.microsoft.com/office/drawing/2014/main" id="{DC1AED8B-806E-4616-ACE6-4C7E7BDC23DA}"/>
                </a:ext>
              </a:extLst>
            </p:cNvPr>
            <p:cNvSpPr/>
            <p:nvPr/>
          </p:nvSpPr>
          <p:spPr>
            <a:xfrm>
              <a:off x="4769480" y="283625"/>
              <a:ext cx="0" cy="125735"/>
            </a:xfrm>
            <a:custGeom>
              <a:avLst/>
              <a:gdLst/>
              <a:ahLst/>
              <a:cxnLst/>
              <a:rect l="l" t="t" r="r" b="b"/>
              <a:pathLst>
                <a:path h="125817">
                  <a:moveTo>
                    <a:pt x="0" y="125817"/>
                  </a:moveTo>
                  <a:lnTo>
                    <a:pt x="0" y="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327" name="BondLine84">
              <a:extLst>
                <a:ext uri="{FF2B5EF4-FFF2-40B4-BE49-F238E27FC236}">
                  <a16:creationId xmlns:a16="http://schemas.microsoft.com/office/drawing/2014/main" id="{88D6DED9-EFCF-4E04-BC84-182B8DC9B049}"/>
                </a:ext>
              </a:extLst>
            </p:cNvPr>
            <p:cNvSpPr/>
            <p:nvPr/>
          </p:nvSpPr>
          <p:spPr>
            <a:xfrm>
              <a:off x="4656300" y="344056"/>
              <a:ext cx="113179" cy="65304"/>
            </a:xfrm>
            <a:custGeom>
              <a:avLst/>
              <a:gdLst/>
              <a:ahLst/>
              <a:cxnLst/>
              <a:rect l="l" t="t" r="r" b="b"/>
              <a:pathLst>
                <a:path w="113182" h="65346">
                  <a:moveTo>
                    <a:pt x="113182" y="65346"/>
                  </a:moveTo>
                  <a:lnTo>
                    <a:pt x="0" y="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328" name="AtomLabel2">
              <a:extLst>
                <a:ext uri="{FF2B5EF4-FFF2-40B4-BE49-F238E27FC236}">
                  <a16:creationId xmlns:a16="http://schemas.microsoft.com/office/drawing/2014/main" id="{78D63AAA-C67D-40E3-B757-ED9F83D6F9EE}"/>
                </a:ext>
              </a:extLst>
            </p:cNvPr>
            <p:cNvSpPr/>
            <p:nvPr/>
          </p:nvSpPr>
          <p:spPr>
            <a:xfrm>
              <a:off x="2423194" y="744450"/>
              <a:ext cx="85434" cy="92381"/>
            </a:xfrm>
            <a:custGeom>
              <a:avLst/>
              <a:gdLst/>
              <a:ahLst/>
              <a:cxnLst/>
              <a:rect l="l" t="t" r="r" b="b"/>
              <a:pathLst>
                <a:path w="85436" h="92441">
                  <a:moveTo>
                    <a:pt x="0" y="47407"/>
                  </a:moveTo>
                  <a:quadBezTo>
                    <a:pt x="0" y="25171"/>
                    <a:pt x="11940" y="12590"/>
                  </a:quadBezTo>
                  <a:quadBezTo>
                    <a:pt x="23881" y="0"/>
                    <a:pt x="42777" y="0"/>
                  </a:quadBezTo>
                  <a:quadBezTo>
                    <a:pt x="55141" y="0"/>
                    <a:pt x="65072" y="5911"/>
                  </a:quadBezTo>
                  <a:quadBezTo>
                    <a:pt x="75013" y="11822"/>
                    <a:pt x="80214" y="22403"/>
                  </a:quadBezTo>
                  <a:quadBezTo>
                    <a:pt x="85426" y="32974"/>
                    <a:pt x="85426" y="46373"/>
                  </a:quadBezTo>
                  <a:quadBezTo>
                    <a:pt x="85426" y="59959"/>
                    <a:pt x="79939" y="70688"/>
                  </a:quadBezTo>
                  <a:quadBezTo>
                    <a:pt x="74461" y="81416"/>
                    <a:pt x="64402" y="86934"/>
                  </a:quadBezTo>
                  <a:quadBezTo>
                    <a:pt x="54353" y="92441"/>
                    <a:pt x="42718" y="92441"/>
                  </a:quadBezTo>
                  <a:quadBezTo>
                    <a:pt x="30097" y="92441"/>
                    <a:pt x="20167" y="86352"/>
                  </a:quadBezTo>
                  <a:quadBezTo>
                    <a:pt x="10236" y="80254"/>
                    <a:pt x="5113" y="69712"/>
                  </a:quadBezTo>
                  <a:quadBezTo>
                    <a:pt x="0" y="59171"/>
                    <a:pt x="0" y="47407"/>
                  </a:quadBezTo>
                  <a:close/>
                  <a:moveTo>
                    <a:pt x="12186" y="47595"/>
                  </a:moveTo>
                  <a:quadBezTo>
                    <a:pt x="12186" y="63742"/>
                    <a:pt x="20866" y="73032"/>
                  </a:quadBezTo>
                  <a:quadBezTo>
                    <a:pt x="29556" y="82323"/>
                    <a:pt x="42649" y="82323"/>
                  </a:quadBezTo>
                  <a:quadBezTo>
                    <a:pt x="55998" y="82323"/>
                    <a:pt x="64619" y="72944"/>
                  </a:quadBezTo>
                  <a:quadBezTo>
                    <a:pt x="73239" y="63555"/>
                    <a:pt x="73239" y="46314"/>
                  </a:quadBezTo>
                  <a:quadBezTo>
                    <a:pt x="73239" y="35408"/>
                    <a:pt x="69555" y="27270"/>
                  </a:quadBezTo>
                  <a:quadBezTo>
                    <a:pt x="65870" y="19132"/>
                    <a:pt x="58767" y="14659"/>
                  </a:quadBezTo>
                  <a:quadBezTo>
                    <a:pt x="51673" y="10177"/>
                    <a:pt x="42836" y="10177"/>
                  </a:quadBezTo>
                  <a:quadBezTo>
                    <a:pt x="30285" y="10177"/>
                    <a:pt x="21231" y="18807"/>
                  </a:quadBezTo>
                  <a:quadBezTo>
                    <a:pt x="12186" y="27427"/>
                    <a:pt x="12186" y="47595"/>
                  </a:quad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329" name="AtomLabel3">
              <a:extLst>
                <a:ext uri="{FF2B5EF4-FFF2-40B4-BE49-F238E27FC236}">
                  <a16:creationId xmlns:a16="http://schemas.microsoft.com/office/drawing/2014/main" id="{E58E43C8-4A0B-49EE-AD45-218D93A83AF9}"/>
                </a:ext>
              </a:extLst>
            </p:cNvPr>
            <p:cNvSpPr/>
            <p:nvPr/>
          </p:nvSpPr>
          <p:spPr>
            <a:xfrm>
              <a:off x="2094114" y="744450"/>
              <a:ext cx="85434" cy="92381"/>
            </a:xfrm>
            <a:custGeom>
              <a:avLst/>
              <a:gdLst/>
              <a:ahLst/>
              <a:cxnLst/>
              <a:rect l="l" t="t" r="r" b="b"/>
              <a:pathLst>
                <a:path w="85436" h="92441">
                  <a:moveTo>
                    <a:pt x="0" y="47407"/>
                  </a:moveTo>
                  <a:quadBezTo>
                    <a:pt x="0" y="25171"/>
                    <a:pt x="11940" y="12590"/>
                  </a:quadBezTo>
                  <a:quadBezTo>
                    <a:pt x="23881" y="0"/>
                    <a:pt x="42777" y="0"/>
                  </a:quadBezTo>
                  <a:quadBezTo>
                    <a:pt x="55141" y="0"/>
                    <a:pt x="65072" y="5911"/>
                  </a:quadBezTo>
                  <a:quadBezTo>
                    <a:pt x="75013" y="11822"/>
                    <a:pt x="80214" y="22403"/>
                  </a:quadBezTo>
                  <a:quadBezTo>
                    <a:pt x="85426" y="32974"/>
                    <a:pt x="85426" y="46373"/>
                  </a:quadBezTo>
                  <a:quadBezTo>
                    <a:pt x="85426" y="59959"/>
                    <a:pt x="79939" y="70688"/>
                  </a:quadBezTo>
                  <a:quadBezTo>
                    <a:pt x="74461" y="81416"/>
                    <a:pt x="64402" y="86934"/>
                  </a:quadBezTo>
                  <a:quadBezTo>
                    <a:pt x="54353" y="92441"/>
                    <a:pt x="42718" y="92441"/>
                  </a:quadBezTo>
                  <a:quadBezTo>
                    <a:pt x="30097" y="92441"/>
                    <a:pt x="20167" y="86352"/>
                  </a:quadBezTo>
                  <a:quadBezTo>
                    <a:pt x="10236" y="80254"/>
                    <a:pt x="5113" y="69712"/>
                  </a:quadBezTo>
                  <a:quadBezTo>
                    <a:pt x="0" y="59171"/>
                    <a:pt x="0" y="47407"/>
                  </a:quadBezTo>
                  <a:close/>
                  <a:moveTo>
                    <a:pt x="12186" y="47595"/>
                  </a:moveTo>
                  <a:quadBezTo>
                    <a:pt x="12186" y="63742"/>
                    <a:pt x="20866" y="73032"/>
                  </a:quadBezTo>
                  <a:quadBezTo>
                    <a:pt x="29556" y="82323"/>
                    <a:pt x="42649" y="82323"/>
                  </a:quadBezTo>
                  <a:quadBezTo>
                    <a:pt x="55998" y="82323"/>
                    <a:pt x="64619" y="72944"/>
                  </a:quadBezTo>
                  <a:quadBezTo>
                    <a:pt x="73239" y="63555"/>
                    <a:pt x="73239" y="46314"/>
                  </a:quadBezTo>
                  <a:quadBezTo>
                    <a:pt x="73239" y="35408"/>
                    <a:pt x="69555" y="27270"/>
                  </a:quadBezTo>
                  <a:quadBezTo>
                    <a:pt x="65870" y="19132"/>
                    <a:pt x="58767" y="14659"/>
                  </a:quadBezTo>
                  <a:quadBezTo>
                    <a:pt x="51673" y="10177"/>
                    <a:pt x="42836" y="10177"/>
                  </a:quadBezTo>
                  <a:quadBezTo>
                    <a:pt x="30285" y="10177"/>
                    <a:pt x="21231" y="18807"/>
                  </a:quadBezTo>
                  <a:quadBezTo>
                    <a:pt x="12186" y="27427"/>
                    <a:pt x="12186" y="47595"/>
                  </a:quad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330" name="AtomLabel4">
              <a:extLst>
                <a:ext uri="{FF2B5EF4-FFF2-40B4-BE49-F238E27FC236}">
                  <a16:creationId xmlns:a16="http://schemas.microsoft.com/office/drawing/2014/main" id="{5BD521BA-5A96-4D89-B2A8-DCA09A388089}"/>
                </a:ext>
              </a:extLst>
            </p:cNvPr>
            <p:cNvSpPr/>
            <p:nvPr/>
          </p:nvSpPr>
          <p:spPr>
            <a:xfrm>
              <a:off x="777789" y="744450"/>
              <a:ext cx="85434" cy="92381"/>
            </a:xfrm>
            <a:custGeom>
              <a:avLst/>
              <a:gdLst/>
              <a:ahLst/>
              <a:cxnLst/>
              <a:rect l="l" t="t" r="r" b="b"/>
              <a:pathLst>
                <a:path w="85436" h="92441">
                  <a:moveTo>
                    <a:pt x="0" y="47407"/>
                  </a:moveTo>
                  <a:quadBezTo>
                    <a:pt x="0" y="25171"/>
                    <a:pt x="11940" y="12590"/>
                  </a:quadBezTo>
                  <a:quadBezTo>
                    <a:pt x="23881" y="0"/>
                    <a:pt x="42777" y="0"/>
                  </a:quadBezTo>
                  <a:quadBezTo>
                    <a:pt x="55141" y="0"/>
                    <a:pt x="65072" y="5911"/>
                  </a:quadBezTo>
                  <a:quadBezTo>
                    <a:pt x="75013" y="11822"/>
                    <a:pt x="80214" y="22403"/>
                  </a:quadBezTo>
                  <a:quadBezTo>
                    <a:pt x="85426" y="32974"/>
                    <a:pt x="85426" y="46373"/>
                  </a:quadBezTo>
                  <a:quadBezTo>
                    <a:pt x="85426" y="59959"/>
                    <a:pt x="79939" y="70688"/>
                  </a:quadBezTo>
                  <a:quadBezTo>
                    <a:pt x="74461" y="81416"/>
                    <a:pt x="64402" y="86934"/>
                  </a:quadBezTo>
                  <a:quadBezTo>
                    <a:pt x="54353" y="92441"/>
                    <a:pt x="42718" y="92441"/>
                  </a:quadBezTo>
                  <a:quadBezTo>
                    <a:pt x="30097" y="92441"/>
                    <a:pt x="20167" y="86352"/>
                  </a:quadBezTo>
                  <a:quadBezTo>
                    <a:pt x="10236" y="80254"/>
                    <a:pt x="5113" y="69712"/>
                  </a:quadBezTo>
                  <a:quadBezTo>
                    <a:pt x="0" y="59171"/>
                    <a:pt x="0" y="47407"/>
                  </a:quadBezTo>
                  <a:close/>
                  <a:moveTo>
                    <a:pt x="12186" y="47595"/>
                  </a:moveTo>
                  <a:quadBezTo>
                    <a:pt x="12186" y="63742"/>
                    <a:pt x="20866" y="73032"/>
                  </a:quadBezTo>
                  <a:quadBezTo>
                    <a:pt x="29556" y="82323"/>
                    <a:pt x="42649" y="82323"/>
                  </a:quadBezTo>
                  <a:quadBezTo>
                    <a:pt x="55998" y="82323"/>
                    <a:pt x="64619" y="72944"/>
                  </a:quadBezTo>
                  <a:quadBezTo>
                    <a:pt x="73239" y="63555"/>
                    <a:pt x="73239" y="46314"/>
                  </a:quadBezTo>
                  <a:quadBezTo>
                    <a:pt x="73239" y="35408"/>
                    <a:pt x="69555" y="27270"/>
                  </a:quadBezTo>
                  <a:quadBezTo>
                    <a:pt x="65870" y="19132"/>
                    <a:pt x="58767" y="14659"/>
                  </a:quadBezTo>
                  <a:quadBezTo>
                    <a:pt x="51673" y="10177"/>
                    <a:pt x="42836" y="10177"/>
                  </a:quadBezTo>
                  <a:quadBezTo>
                    <a:pt x="30285" y="10177"/>
                    <a:pt x="21231" y="18807"/>
                  </a:quadBezTo>
                  <a:quadBezTo>
                    <a:pt x="12186" y="27427"/>
                    <a:pt x="12186" y="47595"/>
                  </a:quad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331" name="AtomLabel5">
              <a:extLst>
                <a:ext uri="{FF2B5EF4-FFF2-40B4-BE49-F238E27FC236}">
                  <a16:creationId xmlns:a16="http://schemas.microsoft.com/office/drawing/2014/main" id="{7B6D28A5-921A-495C-B3E1-E8028B73A692}"/>
                </a:ext>
              </a:extLst>
            </p:cNvPr>
            <p:cNvSpPr/>
            <p:nvPr/>
          </p:nvSpPr>
          <p:spPr>
            <a:xfrm>
              <a:off x="448707" y="744450"/>
              <a:ext cx="85434" cy="92381"/>
            </a:xfrm>
            <a:custGeom>
              <a:avLst/>
              <a:gdLst/>
              <a:ahLst/>
              <a:cxnLst/>
              <a:rect l="l" t="t" r="r" b="b"/>
              <a:pathLst>
                <a:path w="85436" h="92441">
                  <a:moveTo>
                    <a:pt x="0" y="47407"/>
                  </a:moveTo>
                  <a:quadBezTo>
                    <a:pt x="0" y="25171"/>
                    <a:pt x="11940" y="12590"/>
                  </a:quadBezTo>
                  <a:quadBezTo>
                    <a:pt x="23881" y="0"/>
                    <a:pt x="42777" y="0"/>
                  </a:quadBezTo>
                  <a:quadBezTo>
                    <a:pt x="55141" y="0"/>
                    <a:pt x="65072" y="5911"/>
                  </a:quadBezTo>
                  <a:quadBezTo>
                    <a:pt x="75013" y="11822"/>
                    <a:pt x="80214" y="22403"/>
                  </a:quadBezTo>
                  <a:quadBezTo>
                    <a:pt x="85426" y="32974"/>
                    <a:pt x="85426" y="46373"/>
                  </a:quadBezTo>
                  <a:quadBezTo>
                    <a:pt x="85426" y="59959"/>
                    <a:pt x="79939" y="70688"/>
                  </a:quadBezTo>
                  <a:quadBezTo>
                    <a:pt x="74461" y="81416"/>
                    <a:pt x="64402" y="86934"/>
                  </a:quadBezTo>
                  <a:quadBezTo>
                    <a:pt x="54353" y="92441"/>
                    <a:pt x="42718" y="92441"/>
                  </a:quadBezTo>
                  <a:quadBezTo>
                    <a:pt x="30097" y="92441"/>
                    <a:pt x="20167" y="86352"/>
                  </a:quadBezTo>
                  <a:quadBezTo>
                    <a:pt x="10236" y="80254"/>
                    <a:pt x="5113" y="69712"/>
                  </a:quadBezTo>
                  <a:quadBezTo>
                    <a:pt x="0" y="59171"/>
                    <a:pt x="0" y="47407"/>
                  </a:quadBezTo>
                  <a:close/>
                  <a:moveTo>
                    <a:pt x="12186" y="47595"/>
                  </a:moveTo>
                  <a:quadBezTo>
                    <a:pt x="12186" y="63742"/>
                    <a:pt x="20866" y="73032"/>
                  </a:quadBezTo>
                  <a:quadBezTo>
                    <a:pt x="29556" y="82323"/>
                    <a:pt x="42649" y="82323"/>
                  </a:quadBezTo>
                  <a:quadBezTo>
                    <a:pt x="55998" y="82323"/>
                    <a:pt x="64619" y="72944"/>
                  </a:quadBezTo>
                  <a:quadBezTo>
                    <a:pt x="73239" y="63555"/>
                    <a:pt x="73239" y="46314"/>
                  </a:quadBezTo>
                  <a:quadBezTo>
                    <a:pt x="73239" y="35408"/>
                    <a:pt x="69555" y="27270"/>
                  </a:quadBezTo>
                  <a:quadBezTo>
                    <a:pt x="65870" y="19132"/>
                    <a:pt x="58767" y="14659"/>
                  </a:quadBezTo>
                  <a:quadBezTo>
                    <a:pt x="51673" y="10177"/>
                    <a:pt x="42836" y="10177"/>
                  </a:quadBezTo>
                  <a:quadBezTo>
                    <a:pt x="30285" y="10177"/>
                    <a:pt x="21231" y="18807"/>
                  </a:quadBezTo>
                  <a:quadBezTo>
                    <a:pt x="12186" y="27427"/>
                    <a:pt x="12186" y="47595"/>
                  </a:quad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332" name="AtomLabel6">
              <a:extLst>
                <a:ext uri="{FF2B5EF4-FFF2-40B4-BE49-F238E27FC236}">
                  <a16:creationId xmlns:a16="http://schemas.microsoft.com/office/drawing/2014/main" id="{F145C84C-775A-4B44-ABB2-BE253EDED9CB}"/>
                </a:ext>
              </a:extLst>
            </p:cNvPr>
            <p:cNvSpPr/>
            <p:nvPr/>
          </p:nvSpPr>
          <p:spPr>
            <a:xfrm>
              <a:off x="613248" y="459634"/>
              <a:ext cx="85434" cy="92381"/>
            </a:xfrm>
            <a:custGeom>
              <a:avLst/>
              <a:gdLst/>
              <a:ahLst/>
              <a:cxnLst/>
              <a:rect l="l" t="t" r="r" b="b"/>
              <a:pathLst>
                <a:path w="85436" h="92441">
                  <a:moveTo>
                    <a:pt x="0" y="47407"/>
                  </a:moveTo>
                  <a:quadBezTo>
                    <a:pt x="0" y="25171"/>
                    <a:pt x="11940" y="12590"/>
                  </a:quadBezTo>
                  <a:quadBezTo>
                    <a:pt x="23881" y="0"/>
                    <a:pt x="42777" y="0"/>
                  </a:quadBezTo>
                  <a:quadBezTo>
                    <a:pt x="55141" y="0"/>
                    <a:pt x="65072" y="5911"/>
                  </a:quadBezTo>
                  <a:quadBezTo>
                    <a:pt x="75013" y="11822"/>
                    <a:pt x="80214" y="22403"/>
                  </a:quadBezTo>
                  <a:quadBezTo>
                    <a:pt x="85426" y="32974"/>
                    <a:pt x="85426" y="46373"/>
                  </a:quadBezTo>
                  <a:quadBezTo>
                    <a:pt x="85426" y="59959"/>
                    <a:pt x="79939" y="70688"/>
                  </a:quadBezTo>
                  <a:quadBezTo>
                    <a:pt x="74461" y="81416"/>
                    <a:pt x="64402" y="86934"/>
                  </a:quadBezTo>
                  <a:quadBezTo>
                    <a:pt x="54353" y="92441"/>
                    <a:pt x="42718" y="92441"/>
                  </a:quadBezTo>
                  <a:quadBezTo>
                    <a:pt x="30097" y="92441"/>
                    <a:pt x="20167" y="86352"/>
                  </a:quadBezTo>
                  <a:quadBezTo>
                    <a:pt x="10236" y="80254"/>
                    <a:pt x="5113" y="69712"/>
                  </a:quadBezTo>
                  <a:quadBezTo>
                    <a:pt x="0" y="59171"/>
                    <a:pt x="0" y="47407"/>
                  </a:quadBezTo>
                  <a:close/>
                  <a:moveTo>
                    <a:pt x="12186" y="47595"/>
                  </a:moveTo>
                  <a:quadBezTo>
                    <a:pt x="12186" y="63742"/>
                    <a:pt x="20866" y="73032"/>
                  </a:quadBezTo>
                  <a:quadBezTo>
                    <a:pt x="29556" y="82323"/>
                    <a:pt x="42649" y="82323"/>
                  </a:quadBezTo>
                  <a:quadBezTo>
                    <a:pt x="55998" y="82323"/>
                    <a:pt x="64619" y="72944"/>
                  </a:quadBezTo>
                  <a:quadBezTo>
                    <a:pt x="73239" y="63555"/>
                    <a:pt x="73239" y="46314"/>
                  </a:quadBezTo>
                  <a:quadBezTo>
                    <a:pt x="73239" y="35408"/>
                    <a:pt x="69555" y="27270"/>
                  </a:quadBezTo>
                  <a:quadBezTo>
                    <a:pt x="65870" y="19132"/>
                    <a:pt x="58767" y="14659"/>
                  </a:quadBezTo>
                  <a:quadBezTo>
                    <a:pt x="51673" y="10177"/>
                    <a:pt x="42836" y="10177"/>
                  </a:quadBezTo>
                  <a:quadBezTo>
                    <a:pt x="30285" y="10177"/>
                    <a:pt x="21231" y="18807"/>
                  </a:quadBezTo>
                  <a:quadBezTo>
                    <a:pt x="12186" y="27427"/>
                    <a:pt x="12186" y="47595"/>
                  </a:quad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333" name="AtomLabel7">
              <a:extLst>
                <a:ext uri="{FF2B5EF4-FFF2-40B4-BE49-F238E27FC236}">
                  <a16:creationId xmlns:a16="http://schemas.microsoft.com/office/drawing/2014/main" id="{442F3076-28F2-4850-94C6-F3EFF8662D3A}"/>
                </a:ext>
              </a:extLst>
            </p:cNvPr>
            <p:cNvSpPr/>
            <p:nvPr/>
          </p:nvSpPr>
          <p:spPr>
            <a:xfrm>
              <a:off x="1439182" y="174849"/>
              <a:ext cx="78971" cy="92322"/>
            </a:xfrm>
            <a:custGeom>
              <a:avLst/>
              <a:gdLst/>
              <a:ahLst/>
              <a:cxnLst/>
              <a:rect l="l" t="t" r="r" b="b"/>
              <a:pathLst>
                <a:path w="78973" h="92382">
                  <a:moveTo>
                    <a:pt x="67141" y="59535"/>
                  </a:moveTo>
                  <a:lnTo>
                    <a:pt x="78963" y="62520"/>
                  </a:lnTo>
                  <a:quadBezTo>
                    <a:pt x="75249" y="77091"/>
                    <a:pt x="65584" y="84737"/>
                  </a:quadBezTo>
                  <a:quadBezTo>
                    <a:pt x="55929" y="92382"/>
                    <a:pt x="41979" y="92382"/>
                  </a:quadBezTo>
                  <a:quadBezTo>
                    <a:pt x="27536" y="92382"/>
                    <a:pt x="18482" y="86500"/>
                  </a:quadBezTo>
                  <a:quadBezTo>
                    <a:pt x="9438" y="80618"/>
                    <a:pt x="4709" y="69476"/>
                  </a:quadBezTo>
                  <a:quadBezTo>
                    <a:pt x="-9" y="58323"/>
                    <a:pt x="-9" y="45526"/>
                  </a:quadBezTo>
                  <a:quadBezTo>
                    <a:pt x="-9" y="31565"/>
                    <a:pt x="5320" y="21181"/>
                  </a:quadBezTo>
                  <a:quadBezTo>
                    <a:pt x="10659" y="10787"/>
                    <a:pt x="20502" y="5398"/>
                  </a:quadBezTo>
                  <a:quadBezTo>
                    <a:pt x="30344" y="9"/>
                    <a:pt x="42156" y="9"/>
                  </a:quadBezTo>
                  <a:quadBezTo>
                    <a:pt x="55565" y="9"/>
                    <a:pt x="64707" y="6837"/>
                  </a:quadBezTo>
                  <a:quadBezTo>
                    <a:pt x="73850" y="13654"/>
                    <a:pt x="77446" y="26028"/>
                  </a:quadBezTo>
                  <a:lnTo>
                    <a:pt x="65801" y="28767"/>
                  </a:lnTo>
                  <a:quadBezTo>
                    <a:pt x="62698" y="19014"/>
                    <a:pt x="56786" y="14571"/>
                  </a:quadBezTo>
                  <a:quadBezTo>
                    <a:pt x="50875" y="10118"/>
                    <a:pt x="41920" y="10118"/>
                  </a:quadBezTo>
                  <a:quadBezTo>
                    <a:pt x="31615" y="10118"/>
                    <a:pt x="24698" y="15053"/>
                  </a:quadBezTo>
                  <a:quadBezTo>
                    <a:pt x="17782" y="19989"/>
                    <a:pt x="14975" y="28314"/>
                  </a:quadBezTo>
                  <a:quadBezTo>
                    <a:pt x="12177" y="36629"/>
                    <a:pt x="12177" y="45466"/>
                  </a:quadBezTo>
                  <a:quadBezTo>
                    <a:pt x="12177" y="56855"/>
                    <a:pt x="15497" y="65358"/>
                  </a:quadBezTo>
                  <a:quadBezTo>
                    <a:pt x="18827" y="73860"/>
                    <a:pt x="25831" y="78067"/>
                  </a:quadBezTo>
                  <a:quadBezTo>
                    <a:pt x="32836" y="82264"/>
                    <a:pt x="41004" y="82264"/>
                  </a:quadBezTo>
                  <a:quadBezTo>
                    <a:pt x="50934" y="82264"/>
                    <a:pt x="57821" y="76540"/>
                  </a:quadBezTo>
                  <a:quadBezTo>
                    <a:pt x="64707" y="70816"/>
                    <a:pt x="67141" y="59535"/>
                  </a:quad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334" name="AtomLabel8">
              <a:extLst>
                <a:ext uri="{FF2B5EF4-FFF2-40B4-BE49-F238E27FC236}">
                  <a16:creationId xmlns:a16="http://schemas.microsoft.com/office/drawing/2014/main" id="{F0F682F1-0D4D-4FC1-B453-73DB38BB89BD}"/>
                </a:ext>
              </a:extLst>
            </p:cNvPr>
            <p:cNvSpPr/>
            <p:nvPr/>
          </p:nvSpPr>
          <p:spPr>
            <a:xfrm>
              <a:off x="1529307" y="176375"/>
              <a:ext cx="70075" cy="89270"/>
            </a:xfrm>
            <a:custGeom>
              <a:avLst/>
              <a:gdLst/>
              <a:ahLst/>
              <a:cxnLst/>
              <a:rect l="l" t="t" r="r" b="b"/>
              <a:pathLst>
                <a:path w="70077" h="89328">
                  <a:moveTo>
                    <a:pt x="0" y="89328"/>
                  </a:moveTo>
                  <a:lnTo>
                    <a:pt x="0" y="0"/>
                  </a:lnTo>
                  <a:lnTo>
                    <a:pt x="11822" y="0"/>
                  </a:lnTo>
                  <a:lnTo>
                    <a:pt x="11822" y="36688"/>
                  </a:lnTo>
                  <a:lnTo>
                    <a:pt x="58254" y="36688"/>
                  </a:lnTo>
                  <a:lnTo>
                    <a:pt x="58254" y="0"/>
                  </a:lnTo>
                  <a:lnTo>
                    <a:pt x="70077" y="0"/>
                  </a:lnTo>
                  <a:lnTo>
                    <a:pt x="70077" y="89328"/>
                  </a:lnTo>
                  <a:lnTo>
                    <a:pt x="58254" y="89328"/>
                  </a:lnTo>
                  <a:lnTo>
                    <a:pt x="58254" y="47230"/>
                  </a:lnTo>
                  <a:lnTo>
                    <a:pt x="11822" y="47230"/>
                  </a:lnTo>
                  <a:lnTo>
                    <a:pt x="11822" y="8932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335" name="AtomLabel9">
              <a:extLst>
                <a:ext uri="{FF2B5EF4-FFF2-40B4-BE49-F238E27FC236}">
                  <a16:creationId xmlns:a16="http://schemas.microsoft.com/office/drawing/2014/main" id="{D41E11CF-8895-4746-8B83-88E64A07D228}"/>
                </a:ext>
              </a:extLst>
            </p:cNvPr>
            <p:cNvSpPr/>
            <p:nvPr/>
          </p:nvSpPr>
          <p:spPr>
            <a:xfrm>
              <a:off x="1619430" y="228534"/>
              <a:ext cx="35099" cy="54731"/>
            </a:xfrm>
            <a:custGeom>
              <a:avLst/>
              <a:gdLst/>
              <a:ahLst/>
              <a:cxnLst/>
              <a:rect l="l" t="t" r="r" b="b"/>
              <a:pathLst>
                <a:path w="35100" h="54767">
                  <a:moveTo>
                    <a:pt x="-5" y="39670"/>
                  </a:moveTo>
                  <a:lnTo>
                    <a:pt x="6579" y="38789"/>
                  </a:lnTo>
                  <a:quadBezTo>
                    <a:pt x="7708" y="44387"/>
                    <a:pt x="10433" y="46858"/>
                  </a:quadBezTo>
                  <a:quadBezTo>
                    <a:pt x="13158" y="49323"/>
                    <a:pt x="17071" y="49323"/>
                  </a:quadBezTo>
                  <a:quadBezTo>
                    <a:pt x="21711" y="49323"/>
                    <a:pt x="24909" y="46107"/>
                  </a:quadBezTo>
                  <a:quadBezTo>
                    <a:pt x="28113" y="42885"/>
                    <a:pt x="28113" y="38133"/>
                  </a:quadBezTo>
                  <a:quadBezTo>
                    <a:pt x="28113" y="33599"/>
                    <a:pt x="25152" y="30655"/>
                  </a:quadBezTo>
                  <a:quadBezTo>
                    <a:pt x="22190" y="27711"/>
                    <a:pt x="17621" y="27711"/>
                  </a:quadBezTo>
                  <a:quadBezTo>
                    <a:pt x="15753" y="27711"/>
                    <a:pt x="12975" y="28444"/>
                  </a:quadBezTo>
                  <a:lnTo>
                    <a:pt x="13708" y="22669"/>
                  </a:lnTo>
                  <a:quadBezTo>
                    <a:pt x="14364" y="22740"/>
                    <a:pt x="14766" y="22740"/>
                  </a:quadBezTo>
                  <a:quadBezTo>
                    <a:pt x="18969" y="22740"/>
                    <a:pt x="22332" y="20547"/>
                  </a:quadBezTo>
                  <a:quadBezTo>
                    <a:pt x="25701" y="18354"/>
                    <a:pt x="25701" y="13784"/>
                  </a:quadBezTo>
                  <a:quadBezTo>
                    <a:pt x="25701" y="10167"/>
                    <a:pt x="23248" y="7790"/>
                  </a:quadBezTo>
                  <a:quadBezTo>
                    <a:pt x="20801" y="5408"/>
                    <a:pt x="16923" y="5408"/>
                  </a:quadBezTo>
                  <a:quadBezTo>
                    <a:pt x="13087" y="5408"/>
                    <a:pt x="10527" y="7826"/>
                  </a:quadBezTo>
                  <a:quadBezTo>
                    <a:pt x="7968" y="10238"/>
                    <a:pt x="7235" y="15061"/>
                  </a:quadBezTo>
                  <a:lnTo>
                    <a:pt x="656" y="13891"/>
                  </a:lnTo>
                  <a:quadBezTo>
                    <a:pt x="1862" y="7276"/>
                    <a:pt x="6135" y="3641"/>
                  </a:quadBezTo>
                  <a:quadBezTo>
                    <a:pt x="10415" y="0"/>
                    <a:pt x="16775" y="0"/>
                  </a:quadBezTo>
                  <a:quadBezTo>
                    <a:pt x="21168" y="0"/>
                    <a:pt x="24856" y="1885"/>
                  </a:quadBezTo>
                  <a:quadBezTo>
                    <a:pt x="28551" y="3765"/>
                    <a:pt x="30507" y="7022"/>
                  </a:quadBezTo>
                  <a:quadBezTo>
                    <a:pt x="32464" y="10273"/>
                    <a:pt x="32464" y="13932"/>
                  </a:quadBezTo>
                  <a:quadBezTo>
                    <a:pt x="32464" y="17402"/>
                    <a:pt x="30596" y="20257"/>
                  </a:quadBezTo>
                  <a:quadBezTo>
                    <a:pt x="28734" y="23106"/>
                    <a:pt x="25075" y="24791"/>
                  </a:quadBezTo>
                  <a:quadBezTo>
                    <a:pt x="29827" y="25885"/>
                    <a:pt x="32458" y="29343"/>
                  </a:quadBezTo>
                  <a:quadBezTo>
                    <a:pt x="35094" y="32795"/>
                    <a:pt x="35094" y="37985"/>
                  </a:quadBezTo>
                  <a:quadBezTo>
                    <a:pt x="35094" y="45007"/>
                    <a:pt x="29975" y="49890"/>
                  </a:quadBezTo>
                  <a:quadBezTo>
                    <a:pt x="24856" y="54767"/>
                    <a:pt x="17036" y="54767"/>
                  </a:quadBezTo>
                  <a:quadBezTo>
                    <a:pt x="9978" y="54767"/>
                    <a:pt x="5314" y="50564"/>
                  </a:quadBezTo>
                  <a:quadBezTo>
                    <a:pt x="656" y="46361"/>
                    <a:pt x="-5" y="39670"/>
                  </a:quad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336" name="AtomLabel10">
              <a:extLst>
                <a:ext uri="{FF2B5EF4-FFF2-40B4-BE49-F238E27FC236}">
                  <a16:creationId xmlns:a16="http://schemas.microsoft.com/office/drawing/2014/main" id="{A7CFECB0-B93C-41D0-87F9-D30449D19686}"/>
                </a:ext>
              </a:extLst>
            </p:cNvPr>
            <p:cNvSpPr/>
            <p:nvPr/>
          </p:nvSpPr>
          <p:spPr>
            <a:xfrm>
              <a:off x="1274642" y="269788"/>
              <a:ext cx="78971" cy="92322"/>
            </a:xfrm>
            <a:custGeom>
              <a:avLst/>
              <a:gdLst/>
              <a:ahLst/>
              <a:cxnLst/>
              <a:rect l="l" t="t" r="r" b="b"/>
              <a:pathLst>
                <a:path w="78973" h="92382">
                  <a:moveTo>
                    <a:pt x="67141" y="59535"/>
                  </a:moveTo>
                  <a:lnTo>
                    <a:pt x="78963" y="62520"/>
                  </a:lnTo>
                  <a:quadBezTo>
                    <a:pt x="75249" y="77091"/>
                    <a:pt x="65584" y="84737"/>
                  </a:quadBezTo>
                  <a:quadBezTo>
                    <a:pt x="55929" y="92382"/>
                    <a:pt x="41979" y="92382"/>
                  </a:quadBezTo>
                  <a:quadBezTo>
                    <a:pt x="27536" y="92382"/>
                    <a:pt x="18482" y="86500"/>
                  </a:quadBezTo>
                  <a:quadBezTo>
                    <a:pt x="9438" y="80618"/>
                    <a:pt x="4709" y="69476"/>
                  </a:quadBezTo>
                  <a:quadBezTo>
                    <a:pt x="-9" y="58323"/>
                    <a:pt x="-9" y="45526"/>
                  </a:quadBezTo>
                  <a:quadBezTo>
                    <a:pt x="-9" y="31565"/>
                    <a:pt x="5320" y="21181"/>
                  </a:quadBezTo>
                  <a:quadBezTo>
                    <a:pt x="10659" y="10787"/>
                    <a:pt x="20502" y="5398"/>
                  </a:quadBezTo>
                  <a:quadBezTo>
                    <a:pt x="30344" y="9"/>
                    <a:pt x="42156" y="9"/>
                  </a:quadBezTo>
                  <a:quadBezTo>
                    <a:pt x="55565" y="9"/>
                    <a:pt x="64707" y="6837"/>
                  </a:quadBezTo>
                  <a:quadBezTo>
                    <a:pt x="73850" y="13654"/>
                    <a:pt x="77446" y="26028"/>
                  </a:quadBezTo>
                  <a:lnTo>
                    <a:pt x="65801" y="28767"/>
                  </a:lnTo>
                  <a:quadBezTo>
                    <a:pt x="62698" y="19014"/>
                    <a:pt x="56786" y="14571"/>
                  </a:quadBezTo>
                  <a:quadBezTo>
                    <a:pt x="50875" y="10118"/>
                    <a:pt x="41920" y="10118"/>
                  </a:quadBezTo>
                  <a:quadBezTo>
                    <a:pt x="31615" y="10118"/>
                    <a:pt x="24698" y="15053"/>
                  </a:quadBezTo>
                  <a:quadBezTo>
                    <a:pt x="17782" y="19989"/>
                    <a:pt x="14975" y="28314"/>
                  </a:quadBezTo>
                  <a:quadBezTo>
                    <a:pt x="12177" y="36629"/>
                    <a:pt x="12177" y="45466"/>
                  </a:quadBezTo>
                  <a:quadBezTo>
                    <a:pt x="12177" y="56855"/>
                    <a:pt x="15497" y="65358"/>
                  </a:quadBezTo>
                  <a:quadBezTo>
                    <a:pt x="18827" y="73860"/>
                    <a:pt x="25831" y="78067"/>
                  </a:quadBezTo>
                  <a:quadBezTo>
                    <a:pt x="32836" y="82264"/>
                    <a:pt x="41004" y="82264"/>
                  </a:quadBezTo>
                  <a:quadBezTo>
                    <a:pt x="50934" y="82264"/>
                    <a:pt x="57821" y="76540"/>
                  </a:quadBezTo>
                  <a:quadBezTo>
                    <a:pt x="64707" y="70816"/>
                    <a:pt x="67141" y="59535"/>
                  </a:quad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337" name="AtomLabel11">
              <a:extLst>
                <a:ext uri="{FF2B5EF4-FFF2-40B4-BE49-F238E27FC236}">
                  <a16:creationId xmlns:a16="http://schemas.microsoft.com/office/drawing/2014/main" id="{74DF88DB-40F5-4681-872A-CE01F71C10CF}"/>
                </a:ext>
              </a:extLst>
            </p:cNvPr>
            <p:cNvSpPr/>
            <p:nvPr/>
          </p:nvSpPr>
          <p:spPr>
            <a:xfrm>
              <a:off x="1139457" y="271314"/>
              <a:ext cx="70075" cy="89270"/>
            </a:xfrm>
            <a:custGeom>
              <a:avLst/>
              <a:gdLst/>
              <a:ahLst/>
              <a:cxnLst/>
              <a:rect l="l" t="t" r="r" b="b"/>
              <a:pathLst>
                <a:path w="70077" h="89328">
                  <a:moveTo>
                    <a:pt x="0" y="89328"/>
                  </a:moveTo>
                  <a:lnTo>
                    <a:pt x="0" y="0"/>
                  </a:lnTo>
                  <a:lnTo>
                    <a:pt x="11822" y="0"/>
                  </a:lnTo>
                  <a:lnTo>
                    <a:pt x="11822" y="36688"/>
                  </a:lnTo>
                  <a:lnTo>
                    <a:pt x="58254" y="36688"/>
                  </a:lnTo>
                  <a:lnTo>
                    <a:pt x="58254" y="0"/>
                  </a:lnTo>
                  <a:lnTo>
                    <a:pt x="70077" y="0"/>
                  </a:lnTo>
                  <a:lnTo>
                    <a:pt x="70077" y="89328"/>
                  </a:lnTo>
                  <a:lnTo>
                    <a:pt x="58254" y="89328"/>
                  </a:lnTo>
                  <a:lnTo>
                    <a:pt x="58254" y="47230"/>
                  </a:lnTo>
                  <a:lnTo>
                    <a:pt x="11822" y="47230"/>
                  </a:lnTo>
                  <a:lnTo>
                    <a:pt x="11822" y="8932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339" name="AtomLabel12">
              <a:extLst>
                <a:ext uri="{FF2B5EF4-FFF2-40B4-BE49-F238E27FC236}">
                  <a16:creationId xmlns:a16="http://schemas.microsoft.com/office/drawing/2014/main" id="{163D79E3-8965-44E3-A53B-BBEAA8ABC1D1}"/>
                </a:ext>
              </a:extLst>
            </p:cNvPr>
            <p:cNvSpPr/>
            <p:nvPr/>
          </p:nvSpPr>
          <p:spPr>
            <a:xfrm>
              <a:off x="1229580" y="323473"/>
              <a:ext cx="35099" cy="54731"/>
            </a:xfrm>
            <a:custGeom>
              <a:avLst/>
              <a:gdLst/>
              <a:ahLst/>
              <a:cxnLst/>
              <a:rect l="l" t="t" r="r" b="b"/>
              <a:pathLst>
                <a:path w="35100" h="54767">
                  <a:moveTo>
                    <a:pt x="-5" y="39670"/>
                  </a:moveTo>
                  <a:lnTo>
                    <a:pt x="6579" y="38789"/>
                  </a:lnTo>
                  <a:quadBezTo>
                    <a:pt x="7708" y="44387"/>
                    <a:pt x="10433" y="46858"/>
                  </a:quadBezTo>
                  <a:quadBezTo>
                    <a:pt x="13158" y="49323"/>
                    <a:pt x="17071" y="49323"/>
                  </a:quadBezTo>
                  <a:quadBezTo>
                    <a:pt x="21711" y="49323"/>
                    <a:pt x="24909" y="46107"/>
                  </a:quadBezTo>
                  <a:quadBezTo>
                    <a:pt x="28113" y="42885"/>
                    <a:pt x="28113" y="38133"/>
                  </a:quadBezTo>
                  <a:quadBezTo>
                    <a:pt x="28113" y="33599"/>
                    <a:pt x="25152" y="30655"/>
                  </a:quadBezTo>
                  <a:quadBezTo>
                    <a:pt x="22190" y="27711"/>
                    <a:pt x="17621" y="27711"/>
                  </a:quadBezTo>
                  <a:quadBezTo>
                    <a:pt x="15753" y="27711"/>
                    <a:pt x="12975" y="28444"/>
                  </a:quadBezTo>
                  <a:lnTo>
                    <a:pt x="13708" y="22669"/>
                  </a:lnTo>
                  <a:quadBezTo>
                    <a:pt x="14364" y="22740"/>
                    <a:pt x="14766" y="22740"/>
                  </a:quadBezTo>
                  <a:quadBezTo>
                    <a:pt x="18969" y="22740"/>
                    <a:pt x="22332" y="20547"/>
                  </a:quadBezTo>
                  <a:quadBezTo>
                    <a:pt x="25701" y="18354"/>
                    <a:pt x="25701" y="13784"/>
                  </a:quadBezTo>
                  <a:quadBezTo>
                    <a:pt x="25701" y="10167"/>
                    <a:pt x="23248" y="7790"/>
                  </a:quadBezTo>
                  <a:quadBezTo>
                    <a:pt x="20801" y="5408"/>
                    <a:pt x="16923" y="5408"/>
                  </a:quadBezTo>
                  <a:quadBezTo>
                    <a:pt x="13087" y="5408"/>
                    <a:pt x="10527" y="7826"/>
                  </a:quadBezTo>
                  <a:quadBezTo>
                    <a:pt x="7968" y="10238"/>
                    <a:pt x="7235" y="15061"/>
                  </a:quadBezTo>
                  <a:lnTo>
                    <a:pt x="656" y="13891"/>
                  </a:lnTo>
                  <a:quadBezTo>
                    <a:pt x="1862" y="7276"/>
                    <a:pt x="6135" y="3641"/>
                  </a:quadBezTo>
                  <a:quadBezTo>
                    <a:pt x="10415" y="0"/>
                    <a:pt x="16775" y="0"/>
                  </a:quadBezTo>
                  <a:quadBezTo>
                    <a:pt x="21168" y="0"/>
                    <a:pt x="24856" y="1885"/>
                  </a:quadBezTo>
                  <a:quadBezTo>
                    <a:pt x="28551" y="3765"/>
                    <a:pt x="30507" y="7022"/>
                  </a:quadBezTo>
                  <a:quadBezTo>
                    <a:pt x="32464" y="10273"/>
                    <a:pt x="32464" y="13932"/>
                  </a:quadBezTo>
                  <a:quadBezTo>
                    <a:pt x="32464" y="17402"/>
                    <a:pt x="30596" y="20257"/>
                  </a:quadBezTo>
                  <a:quadBezTo>
                    <a:pt x="28734" y="23106"/>
                    <a:pt x="25075" y="24791"/>
                  </a:quadBezTo>
                  <a:quadBezTo>
                    <a:pt x="29827" y="25885"/>
                    <a:pt x="32458" y="29343"/>
                  </a:quadBezTo>
                  <a:quadBezTo>
                    <a:pt x="35094" y="32795"/>
                    <a:pt x="35094" y="37985"/>
                  </a:quadBezTo>
                  <a:quadBezTo>
                    <a:pt x="35094" y="45007"/>
                    <a:pt x="29975" y="49890"/>
                  </a:quadBezTo>
                  <a:quadBezTo>
                    <a:pt x="24856" y="54767"/>
                    <a:pt x="17036" y="54767"/>
                  </a:quadBezTo>
                  <a:quadBezTo>
                    <a:pt x="9978" y="54767"/>
                    <a:pt x="5314" y="50564"/>
                  </a:quadBezTo>
                  <a:quadBezTo>
                    <a:pt x="656" y="46361"/>
                    <a:pt x="-5" y="39670"/>
                  </a:quad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340" name="AtomLabel13">
              <a:extLst>
                <a:ext uri="{FF2B5EF4-FFF2-40B4-BE49-F238E27FC236}">
                  <a16:creationId xmlns:a16="http://schemas.microsoft.com/office/drawing/2014/main" id="{B83D3F5A-F534-4111-A91E-2D891B6EFC76}"/>
                </a:ext>
              </a:extLst>
            </p:cNvPr>
            <p:cNvSpPr/>
            <p:nvPr/>
          </p:nvSpPr>
          <p:spPr>
            <a:xfrm>
              <a:off x="2258654" y="459634"/>
              <a:ext cx="85434" cy="92381"/>
            </a:xfrm>
            <a:custGeom>
              <a:avLst/>
              <a:gdLst/>
              <a:ahLst/>
              <a:cxnLst/>
              <a:rect l="l" t="t" r="r" b="b"/>
              <a:pathLst>
                <a:path w="85436" h="92441">
                  <a:moveTo>
                    <a:pt x="0" y="47407"/>
                  </a:moveTo>
                  <a:quadBezTo>
                    <a:pt x="0" y="25171"/>
                    <a:pt x="11940" y="12590"/>
                  </a:quadBezTo>
                  <a:quadBezTo>
                    <a:pt x="23881" y="0"/>
                    <a:pt x="42777" y="0"/>
                  </a:quadBezTo>
                  <a:quadBezTo>
                    <a:pt x="55141" y="0"/>
                    <a:pt x="65072" y="5911"/>
                  </a:quadBezTo>
                  <a:quadBezTo>
                    <a:pt x="75013" y="11822"/>
                    <a:pt x="80214" y="22403"/>
                  </a:quadBezTo>
                  <a:quadBezTo>
                    <a:pt x="85426" y="32974"/>
                    <a:pt x="85426" y="46373"/>
                  </a:quadBezTo>
                  <a:quadBezTo>
                    <a:pt x="85426" y="59959"/>
                    <a:pt x="79939" y="70688"/>
                  </a:quadBezTo>
                  <a:quadBezTo>
                    <a:pt x="74461" y="81416"/>
                    <a:pt x="64402" y="86934"/>
                  </a:quadBezTo>
                  <a:quadBezTo>
                    <a:pt x="54353" y="92441"/>
                    <a:pt x="42718" y="92441"/>
                  </a:quadBezTo>
                  <a:quadBezTo>
                    <a:pt x="30097" y="92441"/>
                    <a:pt x="20167" y="86352"/>
                  </a:quadBezTo>
                  <a:quadBezTo>
                    <a:pt x="10236" y="80254"/>
                    <a:pt x="5113" y="69712"/>
                  </a:quadBezTo>
                  <a:quadBezTo>
                    <a:pt x="0" y="59171"/>
                    <a:pt x="0" y="47407"/>
                  </a:quadBezTo>
                  <a:close/>
                  <a:moveTo>
                    <a:pt x="12186" y="47595"/>
                  </a:moveTo>
                  <a:quadBezTo>
                    <a:pt x="12186" y="63742"/>
                    <a:pt x="20866" y="73032"/>
                  </a:quadBezTo>
                  <a:quadBezTo>
                    <a:pt x="29556" y="82323"/>
                    <a:pt x="42649" y="82323"/>
                  </a:quadBezTo>
                  <a:quadBezTo>
                    <a:pt x="55998" y="82323"/>
                    <a:pt x="64619" y="72944"/>
                  </a:quadBezTo>
                  <a:quadBezTo>
                    <a:pt x="73239" y="63555"/>
                    <a:pt x="73239" y="46314"/>
                  </a:quadBezTo>
                  <a:quadBezTo>
                    <a:pt x="73239" y="35408"/>
                    <a:pt x="69555" y="27270"/>
                  </a:quadBezTo>
                  <a:quadBezTo>
                    <a:pt x="65870" y="19132"/>
                    <a:pt x="58767" y="14659"/>
                  </a:quadBezTo>
                  <a:quadBezTo>
                    <a:pt x="51673" y="10177"/>
                    <a:pt x="42836" y="10177"/>
                  </a:quadBezTo>
                  <a:quadBezTo>
                    <a:pt x="30285" y="10177"/>
                    <a:pt x="21231" y="18807"/>
                  </a:quadBezTo>
                  <a:quadBezTo>
                    <a:pt x="12186" y="27427"/>
                    <a:pt x="12186" y="47595"/>
                  </a:quad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341" name="AtomLabel14">
              <a:extLst>
                <a:ext uri="{FF2B5EF4-FFF2-40B4-BE49-F238E27FC236}">
                  <a16:creationId xmlns:a16="http://schemas.microsoft.com/office/drawing/2014/main" id="{40AC8F5A-E468-4F3A-B1DF-2DA84E5158FF}"/>
                </a:ext>
              </a:extLst>
            </p:cNvPr>
            <p:cNvSpPr/>
            <p:nvPr/>
          </p:nvSpPr>
          <p:spPr>
            <a:xfrm>
              <a:off x="3739518" y="744450"/>
              <a:ext cx="85434" cy="92381"/>
            </a:xfrm>
            <a:custGeom>
              <a:avLst/>
              <a:gdLst/>
              <a:ahLst/>
              <a:cxnLst/>
              <a:rect l="l" t="t" r="r" b="b"/>
              <a:pathLst>
                <a:path w="85436" h="92441">
                  <a:moveTo>
                    <a:pt x="0" y="47407"/>
                  </a:moveTo>
                  <a:quadBezTo>
                    <a:pt x="0" y="25171"/>
                    <a:pt x="11940" y="12590"/>
                  </a:quadBezTo>
                  <a:quadBezTo>
                    <a:pt x="23881" y="0"/>
                    <a:pt x="42777" y="0"/>
                  </a:quadBezTo>
                  <a:quadBezTo>
                    <a:pt x="55141" y="0"/>
                    <a:pt x="65072" y="5911"/>
                  </a:quadBezTo>
                  <a:quadBezTo>
                    <a:pt x="75013" y="11822"/>
                    <a:pt x="80214" y="22403"/>
                  </a:quadBezTo>
                  <a:quadBezTo>
                    <a:pt x="85426" y="32974"/>
                    <a:pt x="85426" y="46373"/>
                  </a:quadBezTo>
                  <a:quadBezTo>
                    <a:pt x="85426" y="59959"/>
                    <a:pt x="79939" y="70688"/>
                  </a:quadBezTo>
                  <a:quadBezTo>
                    <a:pt x="74461" y="81416"/>
                    <a:pt x="64402" y="86934"/>
                  </a:quadBezTo>
                  <a:quadBezTo>
                    <a:pt x="54353" y="92441"/>
                    <a:pt x="42718" y="92441"/>
                  </a:quadBezTo>
                  <a:quadBezTo>
                    <a:pt x="30097" y="92441"/>
                    <a:pt x="20167" y="86352"/>
                  </a:quadBezTo>
                  <a:quadBezTo>
                    <a:pt x="10236" y="80254"/>
                    <a:pt x="5113" y="69712"/>
                  </a:quadBezTo>
                  <a:quadBezTo>
                    <a:pt x="0" y="59171"/>
                    <a:pt x="0" y="47407"/>
                  </a:quadBezTo>
                  <a:close/>
                  <a:moveTo>
                    <a:pt x="12186" y="47595"/>
                  </a:moveTo>
                  <a:quadBezTo>
                    <a:pt x="12186" y="63742"/>
                    <a:pt x="20866" y="73032"/>
                  </a:quadBezTo>
                  <a:quadBezTo>
                    <a:pt x="29556" y="82323"/>
                    <a:pt x="42649" y="82323"/>
                  </a:quadBezTo>
                  <a:quadBezTo>
                    <a:pt x="55998" y="82323"/>
                    <a:pt x="64619" y="72944"/>
                  </a:quadBezTo>
                  <a:quadBezTo>
                    <a:pt x="73239" y="63555"/>
                    <a:pt x="73239" y="46314"/>
                  </a:quadBezTo>
                  <a:quadBezTo>
                    <a:pt x="73239" y="35408"/>
                    <a:pt x="69555" y="27270"/>
                  </a:quadBezTo>
                  <a:quadBezTo>
                    <a:pt x="65870" y="19132"/>
                    <a:pt x="58767" y="14659"/>
                  </a:quadBezTo>
                  <a:quadBezTo>
                    <a:pt x="51673" y="10177"/>
                    <a:pt x="42836" y="10177"/>
                  </a:quadBezTo>
                  <a:quadBezTo>
                    <a:pt x="30285" y="10177"/>
                    <a:pt x="21231" y="18807"/>
                  </a:quadBezTo>
                  <a:quadBezTo>
                    <a:pt x="12186" y="27427"/>
                    <a:pt x="12186" y="47595"/>
                  </a:quad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342" name="AtomLabel15">
              <a:extLst>
                <a:ext uri="{FF2B5EF4-FFF2-40B4-BE49-F238E27FC236}">
                  <a16:creationId xmlns:a16="http://schemas.microsoft.com/office/drawing/2014/main" id="{FD65A659-8A56-4D77-98C1-0371CFBF7199}"/>
                </a:ext>
              </a:extLst>
            </p:cNvPr>
            <p:cNvSpPr/>
            <p:nvPr/>
          </p:nvSpPr>
          <p:spPr>
            <a:xfrm>
              <a:off x="4068601" y="744450"/>
              <a:ext cx="85434" cy="92381"/>
            </a:xfrm>
            <a:custGeom>
              <a:avLst/>
              <a:gdLst/>
              <a:ahLst/>
              <a:cxnLst/>
              <a:rect l="l" t="t" r="r" b="b"/>
              <a:pathLst>
                <a:path w="85436" h="92441">
                  <a:moveTo>
                    <a:pt x="0" y="47407"/>
                  </a:moveTo>
                  <a:quadBezTo>
                    <a:pt x="0" y="25171"/>
                    <a:pt x="11940" y="12590"/>
                  </a:quadBezTo>
                  <a:quadBezTo>
                    <a:pt x="23881" y="0"/>
                    <a:pt x="42777" y="0"/>
                  </a:quadBezTo>
                  <a:quadBezTo>
                    <a:pt x="55141" y="0"/>
                    <a:pt x="65072" y="5911"/>
                  </a:quadBezTo>
                  <a:quadBezTo>
                    <a:pt x="75013" y="11822"/>
                    <a:pt x="80214" y="22403"/>
                  </a:quadBezTo>
                  <a:quadBezTo>
                    <a:pt x="85426" y="32974"/>
                    <a:pt x="85426" y="46373"/>
                  </a:quadBezTo>
                  <a:quadBezTo>
                    <a:pt x="85426" y="59959"/>
                    <a:pt x="79939" y="70688"/>
                  </a:quadBezTo>
                  <a:quadBezTo>
                    <a:pt x="74461" y="81416"/>
                    <a:pt x="64402" y="86934"/>
                  </a:quadBezTo>
                  <a:quadBezTo>
                    <a:pt x="54353" y="92441"/>
                    <a:pt x="42718" y="92441"/>
                  </a:quadBezTo>
                  <a:quadBezTo>
                    <a:pt x="30097" y="92441"/>
                    <a:pt x="20167" y="86352"/>
                  </a:quadBezTo>
                  <a:quadBezTo>
                    <a:pt x="10236" y="80254"/>
                    <a:pt x="5113" y="69712"/>
                  </a:quadBezTo>
                  <a:quadBezTo>
                    <a:pt x="0" y="59171"/>
                    <a:pt x="0" y="47407"/>
                  </a:quadBezTo>
                  <a:close/>
                  <a:moveTo>
                    <a:pt x="12186" y="47595"/>
                  </a:moveTo>
                  <a:quadBezTo>
                    <a:pt x="12186" y="63742"/>
                    <a:pt x="20866" y="73032"/>
                  </a:quadBezTo>
                  <a:quadBezTo>
                    <a:pt x="29556" y="82323"/>
                    <a:pt x="42649" y="82323"/>
                  </a:quadBezTo>
                  <a:quadBezTo>
                    <a:pt x="55998" y="82323"/>
                    <a:pt x="64619" y="72944"/>
                  </a:quadBezTo>
                  <a:quadBezTo>
                    <a:pt x="73239" y="63555"/>
                    <a:pt x="73239" y="46314"/>
                  </a:quadBezTo>
                  <a:quadBezTo>
                    <a:pt x="73239" y="35408"/>
                    <a:pt x="69555" y="27270"/>
                  </a:quadBezTo>
                  <a:quadBezTo>
                    <a:pt x="65870" y="19132"/>
                    <a:pt x="58767" y="14659"/>
                  </a:quadBezTo>
                  <a:quadBezTo>
                    <a:pt x="51673" y="10177"/>
                    <a:pt x="42836" y="10177"/>
                  </a:quadBezTo>
                  <a:quadBezTo>
                    <a:pt x="30285" y="10177"/>
                    <a:pt x="21231" y="18807"/>
                  </a:quadBezTo>
                  <a:quadBezTo>
                    <a:pt x="12186" y="27427"/>
                    <a:pt x="12186" y="47595"/>
                  </a:quad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343" name="AtomLabel16">
              <a:extLst>
                <a:ext uri="{FF2B5EF4-FFF2-40B4-BE49-F238E27FC236}">
                  <a16:creationId xmlns:a16="http://schemas.microsoft.com/office/drawing/2014/main" id="{0A864338-D679-4396-BFF8-B201EF854776}"/>
                </a:ext>
              </a:extLst>
            </p:cNvPr>
            <p:cNvSpPr/>
            <p:nvPr/>
          </p:nvSpPr>
          <p:spPr>
            <a:xfrm>
              <a:off x="4729994" y="174849"/>
              <a:ext cx="78971" cy="92322"/>
            </a:xfrm>
            <a:custGeom>
              <a:avLst/>
              <a:gdLst/>
              <a:ahLst/>
              <a:cxnLst/>
              <a:rect l="l" t="t" r="r" b="b"/>
              <a:pathLst>
                <a:path w="78973" h="92382">
                  <a:moveTo>
                    <a:pt x="67141" y="59535"/>
                  </a:moveTo>
                  <a:lnTo>
                    <a:pt x="78963" y="62520"/>
                  </a:lnTo>
                  <a:quadBezTo>
                    <a:pt x="75249" y="77091"/>
                    <a:pt x="65584" y="84737"/>
                  </a:quadBezTo>
                  <a:quadBezTo>
                    <a:pt x="55929" y="92382"/>
                    <a:pt x="41979" y="92382"/>
                  </a:quadBezTo>
                  <a:quadBezTo>
                    <a:pt x="27536" y="92382"/>
                    <a:pt x="18482" y="86500"/>
                  </a:quadBezTo>
                  <a:quadBezTo>
                    <a:pt x="9438" y="80618"/>
                    <a:pt x="4709" y="69476"/>
                  </a:quadBezTo>
                  <a:quadBezTo>
                    <a:pt x="-9" y="58323"/>
                    <a:pt x="-9" y="45526"/>
                  </a:quadBezTo>
                  <a:quadBezTo>
                    <a:pt x="-9" y="31565"/>
                    <a:pt x="5320" y="21181"/>
                  </a:quadBezTo>
                  <a:quadBezTo>
                    <a:pt x="10659" y="10787"/>
                    <a:pt x="20502" y="5398"/>
                  </a:quadBezTo>
                  <a:quadBezTo>
                    <a:pt x="30344" y="9"/>
                    <a:pt x="42156" y="9"/>
                  </a:quadBezTo>
                  <a:quadBezTo>
                    <a:pt x="55565" y="9"/>
                    <a:pt x="64707" y="6837"/>
                  </a:quadBezTo>
                  <a:quadBezTo>
                    <a:pt x="73850" y="13654"/>
                    <a:pt x="77446" y="26028"/>
                  </a:quadBezTo>
                  <a:lnTo>
                    <a:pt x="65801" y="28767"/>
                  </a:lnTo>
                  <a:quadBezTo>
                    <a:pt x="62698" y="19014"/>
                    <a:pt x="56786" y="14571"/>
                  </a:quadBezTo>
                  <a:quadBezTo>
                    <a:pt x="50875" y="10118"/>
                    <a:pt x="41920" y="10118"/>
                  </a:quadBezTo>
                  <a:quadBezTo>
                    <a:pt x="31615" y="10118"/>
                    <a:pt x="24698" y="15053"/>
                  </a:quadBezTo>
                  <a:quadBezTo>
                    <a:pt x="17782" y="19989"/>
                    <a:pt x="14975" y="28314"/>
                  </a:quadBezTo>
                  <a:quadBezTo>
                    <a:pt x="12177" y="36629"/>
                    <a:pt x="12177" y="45466"/>
                  </a:quadBezTo>
                  <a:quadBezTo>
                    <a:pt x="12177" y="56855"/>
                    <a:pt x="15497" y="65358"/>
                  </a:quadBezTo>
                  <a:quadBezTo>
                    <a:pt x="18827" y="73860"/>
                    <a:pt x="25831" y="78067"/>
                  </a:quadBezTo>
                  <a:quadBezTo>
                    <a:pt x="32836" y="82264"/>
                    <a:pt x="41004" y="82264"/>
                  </a:quadBezTo>
                  <a:quadBezTo>
                    <a:pt x="50934" y="82264"/>
                    <a:pt x="57821" y="76540"/>
                  </a:quadBezTo>
                  <a:quadBezTo>
                    <a:pt x="64707" y="70816"/>
                    <a:pt x="67141" y="59535"/>
                  </a:quad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344" name="AtomLabel17">
              <a:extLst>
                <a:ext uri="{FF2B5EF4-FFF2-40B4-BE49-F238E27FC236}">
                  <a16:creationId xmlns:a16="http://schemas.microsoft.com/office/drawing/2014/main" id="{3194909D-142D-4F93-83CD-228B8AB8672A}"/>
                </a:ext>
              </a:extLst>
            </p:cNvPr>
            <p:cNvSpPr/>
            <p:nvPr/>
          </p:nvSpPr>
          <p:spPr>
            <a:xfrm>
              <a:off x="4820117" y="176375"/>
              <a:ext cx="70075" cy="89270"/>
            </a:xfrm>
            <a:custGeom>
              <a:avLst/>
              <a:gdLst/>
              <a:ahLst/>
              <a:cxnLst/>
              <a:rect l="l" t="t" r="r" b="b"/>
              <a:pathLst>
                <a:path w="70077" h="89328">
                  <a:moveTo>
                    <a:pt x="0" y="89328"/>
                  </a:moveTo>
                  <a:lnTo>
                    <a:pt x="0" y="0"/>
                  </a:lnTo>
                  <a:lnTo>
                    <a:pt x="11822" y="0"/>
                  </a:lnTo>
                  <a:lnTo>
                    <a:pt x="11822" y="36688"/>
                  </a:lnTo>
                  <a:lnTo>
                    <a:pt x="58254" y="36688"/>
                  </a:lnTo>
                  <a:lnTo>
                    <a:pt x="58254" y="0"/>
                  </a:lnTo>
                  <a:lnTo>
                    <a:pt x="70077" y="0"/>
                  </a:lnTo>
                  <a:lnTo>
                    <a:pt x="70077" y="89328"/>
                  </a:lnTo>
                  <a:lnTo>
                    <a:pt x="58254" y="89328"/>
                  </a:lnTo>
                  <a:lnTo>
                    <a:pt x="58254" y="47230"/>
                  </a:lnTo>
                  <a:lnTo>
                    <a:pt x="11822" y="47230"/>
                  </a:lnTo>
                  <a:lnTo>
                    <a:pt x="11822" y="8932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345" name="AtomLabel18">
              <a:extLst>
                <a:ext uri="{FF2B5EF4-FFF2-40B4-BE49-F238E27FC236}">
                  <a16:creationId xmlns:a16="http://schemas.microsoft.com/office/drawing/2014/main" id="{6EC362A4-F0A2-45BF-842E-28F1C6803471}"/>
                </a:ext>
              </a:extLst>
            </p:cNvPr>
            <p:cNvSpPr/>
            <p:nvPr/>
          </p:nvSpPr>
          <p:spPr>
            <a:xfrm>
              <a:off x="4910242" y="228534"/>
              <a:ext cx="35099" cy="54731"/>
            </a:xfrm>
            <a:custGeom>
              <a:avLst/>
              <a:gdLst/>
              <a:ahLst/>
              <a:cxnLst/>
              <a:rect l="l" t="t" r="r" b="b"/>
              <a:pathLst>
                <a:path w="35100" h="54767">
                  <a:moveTo>
                    <a:pt x="-5" y="39670"/>
                  </a:moveTo>
                  <a:lnTo>
                    <a:pt x="6579" y="38789"/>
                  </a:lnTo>
                  <a:quadBezTo>
                    <a:pt x="7708" y="44387"/>
                    <a:pt x="10433" y="46858"/>
                  </a:quadBezTo>
                  <a:quadBezTo>
                    <a:pt x="13158" y="49323"/>
                    <a:pt x="17071" y="49323"/>
                  </a:quadBezTo>
                  <a:quadBezTo>
                    <a:pt x="21711" y="49323"/>
                    <a:pt x="24909" y="46107"/>
                  </a:quadBezTo>
                  <a:quadBezTo>
                    <a:pt x="28113" y="42885"/>
                    <a:pt x="28113" y="38133"/>
                  </a:quadBezTo>
                  <a:quadBezTo>
                    <a:pt x="28113" y="33599"/>
                    <a:pt x="25152" y="30655"/>
                  </a:quadBezTo>
                  <a:quadBezTo>
                    <a:pt x="22190" y="27711"/>
                    <a:pt x="17621" y="27711"/>
                  </a:quadBezTo>
                  <a:quadBezTo>
                    <a:pt x="15753" y="27711"/>
                    <a:pt x="12975" y="28444"/>
                  </a:quadBezTo>
                  <a:lnTo>
                    <a:pt x="13708" y="22669"/>
                  </a:lnTo>
                  <a:quadBezTo>
                    <a:pt x="14364" y="22740"/>
                    <a:pt x="14766" y="22740"/>
                  </a:quadBezTo>
                  <a:quadBezTo>
                    <a:pt x="18969" y="22740"/>
                    <a:pt x="22332" y="20547"/>
                  </a:quadBezTo>
                  <a:quadBezTo>
                    <a:pt x="25701" y="18354"/>
                    <a:pt x="25701" y="13784"/>
                  </a:quadBezTo>
                  <a:quadBezTo>
                    <a:pt x="25701" y="10167"/>
                    <a:pt x="23248" y="7790"/>
                  </a:quadBezTo>
                  <a:quadBezTo>
                    <a:pt x="20801" y="5408"/>
                    <a:pt x="16923" y="5408"/>
                  </a:quadBezTo>
                  <a:quadBezTo>
                    <a:pt x="13087" y="5408"/>
                    <a:pt x="10527" y="7826"/>
                  </a:quadBezTo>
                  <a:quadBezTo>
                    <a:pt x="7968" y="10238"/>
                    <a:pt x="7235" y="15061"/>
                  </a:quadBezTo>
                  <a:lnTo>
                    <a:pt x="656" y="13891"/>
                  </a:lnTo>
                  <a:quadBezTo>
                    <a:pt x="1862" y="7276"/>
                    <a:pt x="6135" y="3641"/>
                  </a:quadBezTo>
                  <a:quadBezTo>
                    <a:pt x="10415" y="0"/>
                    <a:pt x="16775" y="0"/>
                  </a:quadBezTo>
                  <a:quadBezTo>
                    <a:pt x="21168" y="0"/>
                    <a:pt x="24856" y="1885"/>
                  </a:quadBezTo>
                  <a:quadBezTo>
                    <a:pt x="28551" y="3765"/>
                    <a:pt x="30507" y="7022"/>
                  </a:quadBezTo>
                  <a:quadBezTo>
                    <a:pt x="32464" y="10273"/>
                    <a:pt x="32464" y="13932"/>
                  </a:quadBezTo>
                  <a:quadBezTo>
                    <a:pt x="32464" y="17402"/>
                    <a:pt x="30596" y="20257"/>
                  </a:quadBezTo>
                  <a:quadBezTo>
                    <a:pt x="28734" y="23106"/>
                    <a:pt x="25075" y="24791"/>
                  </a:quadBezTo>
                  <a:quadBezTo>
                    <a:pt x="29827" y="25885"/>
                    <a:pt x="32458" y="29343"/>
                  </a:quadBezTo>
                  <a:quadBezTo>
                    <a:pt x="35094" y="32795"/>
                    <a:pt x="35094" y="37985"/>
                  </a:quadBezTo>
                  <a:quadBezTo>
                    <a:pt x="35094" y="45007"/>
                    <a:pt x="29975" y="49890"/>
                  </a:quadBezTo>
                  <a:quadBezTo>
                    <a:pt x="24856" y="54767"/>
                    <a:pt x="17036" y="54767"/>
                  </a:quadBezTo>
                  <a:quadBezTo>
                    <a:pt x="9978" y="54767"/>
                    <a:pt x="5314" y="50564"/>
                  </a:quadBezTo>
                  <a:quadBezTo>
                    <a:pt x="656" y="46361"/>
                    <a:pt x="-5" y="39670"/>
                  </a:quad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346" name="AtomLabel19">
              <a:extLst>
                <a:ext uri="{FF2B5EF4-FFF2-40B4-BE49-F238E27FC236}">
                  <a16:creationId xmlns:a16="http://schemas.microsoft.com/office/drawing/2014/main" id="{927F79D7-B25C-432B-8D5D-A58DDB8992E2}"/>
                </a:ext>
              </a:extLst>
            </p:cNvPr>
            <p:cNvSpPr/>
            <p:nvPr/>
          </p:nvSpPr>
          <p:spPr>
            <a:xfrm>
              <a:off x="4565454" y="269788"/>
              <a:ext cx="78971" cy="92322"/>
            </a:xfrm>
            <a:custGeom>
              <a:avLst/>
              <a:gdLst/>
              <a:ahLst/>
              <a:cxnLst/>
              <a:rect l="l" t="t" r="r" b="b"/>
              <a:pathLst>
                <a:path w="78973" h="92382">
                  <a:moveTo>
                    <a:pt x="67141" y="59535"/>
                  </a:moveTo>
                  <a:lnTo>
                    <a:pt x="78963" y="62520"/>
                  </a:lnTo>
                  <a:quadBezTo>
                    <a:pt x="75249" y="77091"/>
                    <a:pt x="65584" y="84737"/>
                  </a:quadBezTo>
                  <a:quadBezTo>
                    <a:pt x="55929" y="92382"/>
                    <a:pt x="41979" y="92382"/>
                  </a:quadBezTo>
                  <a:quadBezTo>
                    <a:pt x="27536" y="92382"/>
                    <a:pt x="18482" y="86500"/>
                  </a:quadBezTo>
                  <a:quadBezTo>
                    <a:pt x="9438" y="80618"/>
                    <a:pt x="4709" y="69476"/>
                  </a:quadBezTo>
                  <a:quadBezTo>
                    <a:pt x="-9" y="58323"/>
                    <a:pt x="-9" y="45526"/>
                  </a:quadBezTo>
                  <a:quadBezTo>
                    <a:pt x="-9" y="31565"/>
                    <a:pt x="5320" y="21181"/>
                  </a:quadBezTo>
                  <a:quadBezTo>
                    <a:pt x="10659" y="10787"/>
                    <a:pt x="20502" y="5398"/>
                  </a:quadBezTo>
                  <a:quadBezTo>
                    <a:pt x="30344" y="9"/>
                    <a:pt x="42156" y="9"/>
                  </a:quadBezTo>
                  <a:quadBezTo>
                    <a:pt x="55565" y="9"/>
                    <a:pt x="64707" y="6837"/>
                  </a:quadBezTo>
                  <a:quadBezTo>
                    <a:pt x="73850" y="13654"/>
                    <a:pt x="77446" y="26028"/>
                  </a:quadBezTo>
                  <a:lnTo>
                    <a:pt x="65801" y="28767"/>
                  </a:lnTo>
                  <a:quadBezTo>
                    <a:pt x="62698" y="19014"/>
                    <a:pt x="56786" y="14571"/>
                  </a:quadBezTo>
                  <a:quadBezTo>
                    <a:pt x="50875" y="10118"/>
                    <a:pt x="41920" y="10118"/>
                  </a:quadBezTo>
                  <a:quadBezTo>
                    <a:pt x="31615" y="10118"/>
                    <a:pt x="24698" y="15053"/>
                  </a:quadBezTo>
                  <a:quadBezTo>
                    <a:pt x="17782" y="19989"/>
                    <a:pt x="14975" y="28314"/>
                  </a:quadBezTo>
                  <a:quadBezTo>
                    <a:pt x="12177" y="36629"/>
                    <a:pt x="12177" y="45466"/>
                  </a:quadBezTo>
                  <a:quadBezTo>
                    <a:pt x="12177" y="56855"/>
                    <a:pt x="15497" y="65358"/>
                  </a:quadBezTo>
                  <a:quadBezTo>
                    <a:pt x="18827" y="73860"/>
                    <a:pt x="25831" y="78067"/>
                  </a:quadBezTo>
                  <a:quadBezTo>
                    <a:pt x="32836" y="82264"/>
                    <a:pt x="41004" y="82264"/>
                  </a:quadBezTo>
                  <a:quadBezTo>
                    <a:pt x="50934" y="82264"/>
                    <a:pt x="57821" y="76540"/>
                  </a:quadBezTo>
                  <a:quadBezTo>
                    <a:pt x="64707" y="70816"/>
                    <a:pt x="67141" y="59535"/>
                  </a:quad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347" name="AtomLabel20">
              <a:extLst>
                <a:ext uri="{FF2B5EF4-FFF2-40B4-BE49-F238E27FC236}">
                  <a16:creationId xmlns:a16="http://schemas.microsoft.com/office/drawing/2014/main" id="{28D5E6C1-D5A5-4B42-A7F2-FB42462F5A2B}"/>
                </a:ext>
              </a:extLst>
            </p:cNvPr>
            <p:cNvSpPr/>
            <p:nvPr/>
          </p:nvSpPr>
          <p:spPr>
            <a:xfrm>
              <a:off x="4430267" y="271314"/>
              <a:ext cx="70075" cy="89270"/>
            </a:xfrm>
            <a:custGeom>
              <a:avLst/>
              <a:gdLst/>
              <a:ahLst/>
              <a:cxnLst/>
              <a:rect l="l" t="t" r="r" b="b"/>
              <a:pathLst>
                <a:path w="70077" h="89328">
                  <a:moveTo>
                    <a:pt x="0" y="89328"/>
                  </a:moveTo>
                  <a:lnTo>
                    <a:pt x="0" y="0"/>
                  </a:lnTo>
                  <a:lnTo>
                    <a:pt x="11822" y="0"/>
                  </a:lnTo>
                  <a:lnTo>
                    <a:pt x="11822" y="36688"/>
                  </a:lnTo>
                  <a:lnTo>
                    <a:pt x="58254" y="36688"/>
                  </a:lnTo>
                  <a:lnTo>
                    <a:pt x="58254" y="0"/>
                  </a:lnTo>
                  <a:lnTo>
                    <a:pt x="70077" y="0"/>
                  </a:lnTo>
                  <a:lnTo>
                    <a:pt x="70077" y="89328"/>
                  </a:lnTo>
                  <a:lnTo>
                    <a:pt x="58254" y="89328"/>
                  </a:lnTo>
                  <a:lnTo>
                    <a:pt x="58254" y="47230"/>
                  </a:lnTo>
                  <a:lnTo>
                    <a:pt x="11822" y="47230"/>
                  </a:lnTo>
                  <a:lnTo>
                    <a:pt x="11822" y="8932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348" name="AtomLabel21">
              <a:extLst>
                <a:ext uri="{FF2B5EF4-FFF2-40B4-BE49-F238E27FC236}">
                  <a16:creationId xmlns:a16="http://schemas.microsoft.com/office/drawing/2014/main" id="{C3EE060F-8E37-400A-BE55-B1763BBFD555}"/>
                </a:ext>
              </a:extLst>
            </p:cNvPr>
            <p:cNvSpPr/>
            <p:nvPr/>
          </p:nvSpPr>
          <p:spPr>
            <a:xfrm>
              <a:off x="4520392" y="323473"/>
              <a:ext cx="35099" cy="54731"/>
            </a:xfrm>
            <a:custGeom>
              <a:avLst/>
              <a:gdLst/>
              <a:ahLst/>
              <a:cxnLst/>
              <a:rect l="l" t="t" r="r" b="b"/>
              <a:pathLst>
                <a:path w="35100" h="54767">
                  <a:moveTo>
                    <a:pt x="-5" y="39670"/>
                  </a:moveTo>
                  <a:lnTo>
                    <a:pt x="6579" y="38789"/>
                  </a:lnTo>
                  <a:quadBezTo>
                    <a:pt x="7708" y="44387"/>
                    <a:pt x="10433" y="46858"/>
                  </a:quadBezTo>
                  <a:quadBezTo>
                    <a:pt x="13158" y="49323"/>
                    <a:pt x="17071" y="49323"/>
                  </a:quadBezTo>
                  <a:quadBezTo>
                    <a:pt x="21711" y="49323"/>
                    <a:pt x="24909" y="46107"/>
                  </a:quadBezTo>
                  <a:quadBezTo>
                    <a:pt x="28113" y="42885"/>
                    <a:pt x="28113" y="38133"/>
                  </a:quadBezTo>
                  <a:quadBezTo>
                    <a:pt x="28113" y="33599"/>
                    <a:pt x="25152" y="30655"/>
                  </a:quadBezTo>
                  <a:quadBezTo>
                    <a:pt x="22190" y="27711"/>
                    <a:pt x="17621" y="27711"/>
                  </a:quadBezTo>
                  <a:quadBezTo>
                    <a:pt x="15753" y="27711"/>
                    <a:pt x="12975" y="28444"/>
                  </a:quadBezTo>
                  <a:lnTo>
                    <a:pt x="13708" y="22669"/>
                  </a:lnTo>
                  <a:quadBezTo>
                    <a:pt x="14364" y="22740"/>
                    <a:pt x="14766" y="22740"/>
                  </a:quadBezTo>
                  <a:quadBezTo>
                    <a:pt x="18969" y="22740"/>
                    <a:pt x="22332" y="20547"/>
                  </a:quadBezTo>
                  <a:quadBezTo>
                    <a:pt x="25701" y="18354"/>
                    <a:pt x="25701" y="13784"/>
                  </a:quadBezTo>
                  <a:quadBezTo>
                    <a:pt x="25701" y="10167"/>
                    <a:pt x="23248" y="7790"/>
                  </a:quadBezTo>
                  <a:quadBezTo>
                    <a:pt x="20801" y="5408"/>
                    <a:pt x="16923" y="5408"/>
                  </a:quadBezTo>
                  <a:quadBezTo>
                    <a:pt x="13087" y="5408"/>
                    <a:pt x="10527" y="7826"/>
                  </a:quadBezTo>
                  <a:quadBezTo>
                    <a:pt x="7968" y="10238"/>
                    <a:pt x="7235" y="15061"/>
                  </a:quadBezTo>
                  <a:lnTo>
                    <a:pt x="656" y="13891"/>
                  </a:lnTo>
                  <a:quadBezTo>
                    <a:pt x="1862" y="7276"/>
                    <a:pt x="6135" y="3641"/>
                  </a:quadBezTo>
                  <a:quadBezTo>
                    <a:pt x="10415" y="0"/>
                    <a:pt x="16775" y="0"/>
                  </a:quadBezTo>
                  <a:quadBezTo>
                    <a:pt x="21168" y="0"/>
                    <a:pt x="24856" y="1885"/>
                  </a:quadBezTo>
                  <a:quadBezTo>
                    <a:pt x="28551" y="3765"/>
                    <a:pt x="30507" y="7022"/>
                  </a:quadBezTo>
                  <a:quadBezTo>
                    <a:pt x="32464" y="10273"/>
                    <a:pt x="32464" y="13932"/>
                  </a:quadBezTo>
                  <a:quadBezTo>
                    <a:pt x="32464" y="17402"/>
                    <a:pt x="30596" y="20257"/>
                  </a:quadBezTo>
                  <a:quadBezTo>
                    <a:pt x="28734" y="23106"/>
                    <a:pt x="25075" y="24791"/>
                  </a:quadBezTo>
                  <a:quadBezTo>
                    <a:pt x="29827" y="25885"/>
                    <a:pt x="32458" y="29343"/>
                  </a:quadBezTo>
                  <a:quadBezTo>
                    <a:pt x="35094" y="32795"/>
                    <a:pt x="35094" y="37985"/>
                  </a:quadBezTo>
                  <a:quadBezTo>
                    <a:pt x="35094" y="45007"/>
                    <a:pt x="29975" y="49890"/>
                  </a:quadBezTo>
                  <a:quadBezTo>
                    <a:pt x="24856" y="54767"/>
                    <a:pt x="17036" y="54767"/>
                  </a:quadBezTo>
                  <a:quadBezTo>
                    <a:pt x="9978" y="54767"/>
                    <a:pt x="5314" y="50564"/>
                  </a:quadBezTo>
                  <a:quadBezTo>
                    <a:pt x="656" y="46361"/>
                    <a:pt x="-5" y="39670"/>
                  </a:quad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349" name="AtomLabel22">
              <a:extLst>
                <a:ext uri="{FF2B5EF4-FFF2-40B4-BE49-F238E27FC236}">
                  <a16:creationId xmlns:a16="http://schemas.microsoft.com/office/drawing/2014/main" id="{FB8DF7B2-351D-4737-9196-C81DD5AD671F}"/>
                </a:ext>
              </a:extLst>
            </p:cNvPr>
            <p:cNvSpPr/>
            <p:nvPr/>
          </p:nvSpPr>
          <p:spPr>
            <a:xfrm>
              <a:off x="3904060" y="459634"/>
              <a:ext cx="85434" cy="92381"/>
            </a:xfrm>
            <a:custGeom>
              <a:avLst/>
              <a:gdLst/>
              <a:ahLst/>
              <a:cxnLst/>
              <a:rect l="l" t="t" r="r" b="b"/>
              <a:pathLst>
                <a:path w="85436" h="92441">
                  <a:moveTo>
                    <a:pt x="0" y="47407"/>
                  </a:moveTo>
                  <a:quadBezTo>
                    <a:pt x="0" y="25171"/>
                    <a:pt x="11940" y="12590"/>
                  </a:quadBezTo>
                  <a:quadBezTo>
                    <a:pt x="23881" y="0"/>
                    <a:pt x="42777" y="0"/>
                  </a:quadBezTo>
                  <a:quadBezTo>
                    <a:pt x="55141" y="0"/>
                    <a:pt x="65072" y="5911"/>
                  </a:quadBezTo>
                  <a:quadBezTo>
                    <a:pt x="75013" y="11822"/>
                    <a:pt x="80214" y="22403"/>
                  </a:quadBezTo>
                  <a:quadBezTo>
                    <a:pt x="85426" y="32974"/>
                    <a:pt x="85426" y="46373"/>
                  </a:quadBezTo>
                  <a:quadBezTo>
                    <a:pt x="85426" y="59959"/>
                    <a:pt x="79939" y="70688"/>
                  </a:quadBezTo>
                  <a:quadBezTo>
                    <a:pt x="74461" y="81416"/>
                    <a:pt x="64402" y="86934"/>
                  </a:quadBezTo>
                  <a:quadBezTo>
                    <a:pt x="54353" y="92441"/>
                    <a:pt x="42718" y="92441"/>
                  </a:quadBezTo>
                  <a:quadBezTo>
                    <a:pt x="30097" y="92441"/>
                    <a:pt x="20167" y="86352"/>
                  </a:quadBezTo>
                  <a:quadBezTo>
                    <a:pt x="10236" y="80254"/>
                    <a:pt x="5113" y="69712"/>
                  </a:quadBezTo>
                  <a:quadBezTo>
                    <a:pt x="0" y="59171"/>
                    <a:pt x="0" y="47407"/>
                  </a:quadBezTo>
                  <a:close/>
                  <a:moveTo>
                    <a:pt x="12186" y="47595"/>
                  </a:moveTo>
                  <a:quadBezTo>
                    <a:pt x="12186" y="63742"/>
                    <a:pt x="20866" y="73032"/>
                  </a:quadBezTo>
                  <a:quadBezTo>
                    <a:pt x="29556" y="82323"/>
                    <a:pt x="42649" y="82323"/>
                  </a:quadBezTo>
                  <a:quadBezTo>
                    <a:pt x="55998" y="82323"/>
                    <a:pt x="64619" y="72944"/>
                  </a:quadBezTo>
                  <a:quadBezTo>
                    <a:pt x="73239" y="63555"/>
                    <a:pt x="73239" y="46314"/>
                  </a:quadBezTo>
                  <a:quadBezTo>
                    <a:pt x="73239" y="35408"/>
                    <a:pt x="69555" y="27270"/>
                  </a:quadBezTo>
                  <a:quadBezTo>
                    <a:pt x="65870" y="19132"/>
                    <a:pt x="58767" y="14659"/>
                  </a:quadBezTo>
                  <a:quadBezTo>
                    <a:pt x="51673" y="10177"/>
                    <a:pt x="42836" y="10177"/>
                  </a:quadBezTo>
                  <a:quadBezTo>
                    <a:pt x="30285" y="10177"/>
                    <a:pt x="21231" y="18807"/>
                  </a:quadBezTo>
                  <a:quadBezTo>
                    <a:pt x="12186" y="27427"/>
                    <a:pt x="12186" y="47595"/>
                  </a:quad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350" name="AtomLabel23">
              <a:extLst>
                <a:ext uri="{FF2B5EF4-FFF2-40B4-BE49-F238E27FC236}">
                  <a16:creationId xmlns:a16="http://schemas.microsoft.com/office/drawing/2014/main" id="{249E4EE3-737B-4234-AA9C-2795D96F2FB7}"/>
                </a:ext>
              </a:extLst>
            </p:cNvPr>
            <p:cNvSpPr/>
            <p:nvPr/>
          </p:nvSpPr>
          <p:spPr>
            <a:xfrm>
              <a:off x="3084588" y="174849"/>
              <a:ext cx="78971" cy="92322"/>
            </a:xfrm>
            <a:custGeom>
              <a:avLst/>
              <a:gdLst/>
              <a:ahLst/>
              <a:cxnLst/>
              <a:rect l="l" t="t" r="r" b="b"/>
              <a:pathLst>
                <a:path w="78973" h="92382">
                  <a:moveTo>
                    <a:pt x="67141" y="59535"/>
                  </a:moveTo>
                  <a:lnTo>
                    <a:pt x="78963" y="62520"/>
                  </a:lnTo>
                  <a:quadBezTo>
                    <a:pt x="75249" y="77091"/>
                    <a:pt x="65584" y="84737"/>
                  </a:quadBezTo>
                  <a:quadBezTo>
                    <a:pt x="55929" y="92382"/>
                    <a:pt x="41979" y="92382"/>
                  </a:quadBezTo>
                  <a:quadBezTo>
                    <a:pt x="27536" y="92382"/>
                    <a:pt x="18482" y="86500"/>
                  </a:quadBezTo>
                  <a:quadBezTo>
                    <a:pt x="9438" y="80618"/>
                    <a:pt x="4709" y="69476"/>
                  </a:quadBezTo>
                  <a:quadBezTo>
                    <a:pt x="-9" y="58323"/>
                    <a:pt x="-9" y="45526"/>
                  </a:quadBezTo>
                  <a:quadBezTo>
                    <a:pt x="-9" y="31565"/>
                    <a:pt x="5320" y="21181"/>
                  </a:quadBezTo>
                  <a:quadBezTo>
                    <a:pt x="10659" y="10787"/>
                    <a:pt x="20502" y="5398"/>
                  </a:quadBezTo>
                  <a:quadBezTo>
                    <a:pt x="30344" y="9"/>
                    <a:pt x="42156" y="9"/>
                  </a:quadBezTo>
                  <a:quadBezTo>
                    <a:pt x="55565" y="9"/>
                    <a:pt x="64707" y="6837"/>
                  </a:quadBezTo>
                  <a:quadBezTo>
                    <a:pt x="73850" y="13654"/>
                    <a:pt x="77446" y="26028"/>
                  </a:quadBezTo>
                  <a:lnTo>
                    <a:pt x="65801" y="28767"/>
                  </a:lnTo>
                  <a:quadBezTo>
                    <a:pt x="62698" y="19014"/>
                    <a:pt x="56786" y="14571"/>
                  </a:quadBezTo>
                  <a:quadBezTo>
                    <a:pt x="50875" y="10118"/>
                    <a:pt x="41920" y="10118"/>
                  </a:quadBezTo>
                  <a:quadBezTo>
                    <a:pt x="31615" y="10118"/>
                    <a:pt x="24698" y="15053"/>
                  </a:quadBezTo>
                  <a:quadBezTo>
                    <a:pt x="17782" y="19989"/>
                    <a:pt x="14975" y="28314"/>
                  </a:quadBezTo>
                  <a:quadBezTo>
                    <a:pt x="12177" y="36629"/>
                    <a:pt x="12177" y="45466"/>
                  </a:quadBezTo>
                  <a:quadBezTo>
                    <a:pt x="12177" y="56855"/>
                    <a:pt x="15497" y="65358"/>
                  </a:quadBezTo>
                  <a:quadBezTo>
                    <a:pt x="18827" y="73860"/>
                    <a:pt x="25831" y="78067"/>
                  </a:quadBezTo>
                  <a:quadBezTo>
                    <a:pt x="32836" y="82264"/>
                    <a:pt x="41004" y="82264"/>
                  </a:quadBezTo>
                  <a:quadBezTo>
                    <a:pt x="50934" y="82264"/>
                    <a:pt x="57821" y="76540"/>
                  </a:quadBezTo>
                  <a:quadBezTo>
                    <a:pt x="64707" y="70816"/>
                    <a:pt x="67141" y="59535"/>
                  </a:quad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351" name="AtomLabel24">
              <a:extLst>
                <a:ext uri="{FF2B5EF4-FFF2-40B4-BE49-F238E27FC236}">
                  <a16:creationId xmlns:a16="http://schemas.microsoft.com/office/drawing/2014/main" id="{542E407E-7F3B-4805-924A-1E7B4A80984C}"/>
                </a:ext>
              </a:extLst>
            </p:cNvPr>
            <p:cNvSpPr/>
            <p:nvPr/>
          </p:nvSpPr>
          <p:spPr>
            <a:xfrm>
              <a:off x="3174712" y="176375"/>
              <a:ext cx="70075" cy="89270"/>
            </a:xfrm>
            <a:custGeom>
              <a:avLst/>
              <a:gdLst/>
              <a:ahLst/>
              <a:cxnLst/>
              <a:rect l="l" t="t" r="r" b="b"/>
              <a:pathLst>
                <a:path w="70077" h="89328">
                  <a:moveTo>
                    <a:pt x="0" y="89328"/>
                  </a:moveTo>
                  <a:lnTo>
                    <a:pt x="0" y="0"/>
                  </a:lnTo>
                  <a:lnTo>
                    <a:pt x="11822" y="0"/>
                  </a:lnTo>
                  <a:lnTo>
                    <a:pt x="11822" y="36688"/>
                  </a:lnTo>
                  <a:lnTo>
                    <a:pt x="58254" y="36688"/>
                  </a:lnTo>
                  <a:lnTo>
                    <a:pt x="58254" y="0"/>
                  </a:lnTo>
                  <a:lnTo>
                    <a:pt x="70077" y="0"/>
                  </a:lnTo>
                  <a:lnTo>
                    <a:pt x="70077" y="89328"/>
                  </a:lnTo>
                  <a:lnTo>
                    <a:pt x="58254" y="89328"/>
                  </a:lnTo>
                  <a:lnTo>
                    <a:pt x="58254" y="47230"/>
                  </a:lnTo>
                  <a:lnTo>
                    <a:pt x="11822" y="47230"/>
                  </a:lnTo>
                  <a:lnTo>
                    <a:pt x="11822" y="8932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352" name="AtomLabel25">
              <a:extLst>
                <a:ext uri="{FF2B5EF4-FFF2-40B4-BE49-F238E27FC236}">
                  <a16:creationId xmlns:a16="http://schemas.microsoft.com/office/drawing/2014/main" id="{ACBBC9D1-1AF5-40A4-85E3-4A2920BCB81A}"/>
                </a:ext>
              </a:extLst>
            </p:cNvPr>
            <p:cNvSpPr/>
            <p:nvPr/>
          </p:nvSpPr>
          <p:spPr>
            <a:xfrm>
              <a:off x="3264835" y="228534"/>
              <a:ext cx="35099" cy="54731"/>
            </a:xfrm>
            <a:custGeom>
              <a:avLst/>
              <a:gdLst/>
              <a:ahLst/>
              <a:cxnLst/>
              <a:rect l="l" t="t" r="r" b="b"/>
              <a:pathLst>
                <a:path w="35100" h="54767">
                  <a:moveTo>
                    <a:pt x="-5" y="39670"/>
                  </a:moveTo>
                  <a:lnTo>
                    <a:pt x="6579" y="38789"/>
                  </a:lnTo>
                  <a:quadBezTo>
                    <a:pt x="7708" y="44387"/>
                    <a:pt x="10433" y="46858"/>
                  </a:quadBezTo>
                  <a:quadBezTo>
                    <a:pt x="13158" y="49323"/>
                    <a:pt x="17071" y="49323"/>
                  </a:quadBezTo>
                  <a:quadBezTo>
                    <a:pt x="21711" y="49323"/>
                    <a:pt x="24909" y="46107"/>
                  </a:quadBezTo>
                  <a:quadBezTo>
                    <a:pt x="28113" y="42885"/>
                    <a:pt x="28113" y="38133"/>
                  </a:quadBezTo>
                  <a:quadBezTo>
                    <a:pt x="28113" y="33599"/>
                    <a:pt x="25152" y="30655"/>
                  </a:quadBezTo>
                  <a:quadBezTo>
                    <a:pt x="22190" y="27711"/>
                    <a:pt x="17621" y="27711"/>
                  </a:quadBezTo>
                  <a:quadBezTo>
                    <a:pt x="15753" y="27711"/>
                    <a:pt x="12975" y="28444"/>
                  </a:quadBezTo>
                  <a:lnTo>
                    <a:pt x="13708" y="22669"/>
                  </a:lnTo>
                  <a:quadBezTo>
                    <a:pt x="14364" y="22740"/>
                    <a:pt x="14766" y="22740"/>
                  </a:quadBezTo>
                  <a:quadBezTo>
                    <a:pt x="18969" y="22740"/>
                    <a:pt x="22332" y="20547"/>
                  </a:quadBezTo>
                  <a:quadBezTo>
                    <a:pt x="25701" y="18354"/>
                    <a:pt x="25701" y="13784"/>
                  </a:quadBezTo>
                  <a:quadBezTo>
                    <a:pt x="25701" y="10167"/>
                    <a:pt x="23248" y="7790"/>
                  </a:quadBezTo>
                  <a:quadBezTo>
                    <a:pt x="20801" y="5408"/>
                    <a:pt x="16923" y="5408"/>
                  </a:quadBezTo>
                  <a:quadBezTo>
                    <a:pt x="13087" y="5408"/>
                    <a:pt x="10527" y="7826"/>
                  </a:quadBezTo>
                  <a:quadBezTo>
                    <a:pt x="7968" y="10238"/>
                    <a:pt x="7235" y="15061"/>
                  </a:quadBezTo>
                  <a:lnTo>
                    <a:pt x="656" y="13891"/>
                  </a:lnTo>
                  <a:quadBezTo>
                    <a:pt x="1862" y="7276"/>
                    <a:pt x="6135" y="3641"/>
                  </a:quadBezTo>
                  <a:quadBezTo>
                    <a:pt x="10415" y="0"/>
                    <a:pt x="16775" y="0"/>
                  </a:quadBezTo>
                  <a:quadBezTo>
                    <a:pt x="21168" y="0"/>
                    <a:pt x="24856" y="1885"/>
                  </a:quadBezTo>
                  <a:quadBezTo>
                    <a:pt x="28551" y="3765"/>
                    <a:pt x="30507" y="7022"/>
                  </a:quadBezTo>
                  <a:quadBezTo>
                    <a:pt x="32464" y="10273"/>
                    <a:pt x="32464" y="13932"/>
                  </a:quadBezTo>
                  <a:quadBezTo>
                    <a:pt x="32464" y="17402"/>
                    <a:pt x="30596" y="20257"/>
                  </a:quadBezTo>
                  <a:quadBezTo>
                    <a:pt x="28734" y="23106"/>
                    <a:pt x="25075" y="24791"/>
                  </a:quadBezTo>
                  <a:quadBezTo>
                    <a:pt x="29827" y="25885"/>
                    <a:pt x="32458" y="29343"/>
                  </a:quadBezTo>
                  <a:quadBezTo>
                    <a:pt x="35094" y="32795"/>
                    <a:pt x="35094" y="37985"/>
                  </a:quadBezTo>
                  <a:quadBezTo>
                    <a:pt x="35094" y="45007"/>
                    <a:pt x="29975" y="49890"/>
                  </a:quadBezTo>
                  <a:quadBezTo>
                    <a:pt x="24856" y="54767"/>
                    <a:pt x="17036" y="54767"/>
                  </a:quadBezTo>
                  <a:quadBezTo>
                    <a:pt x="9978" y="54767"/>
                    <a:pt x="5314" y="50564"/>
                  </a:quadBezTo>
                  <a:quadBezTo>
                    <a:pt x="656" y="46361"/>
                    <a:pt x="-5" y="39670"/>
                  </a:quad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353" name="AtomLabel26">
              <a:extLst>
                <a:ext uri="{FF2B5EF4-FFF2-40B4-BE49-F238E27FC236}">
                  <a16:creationId xmlns:a16="http://schemas.microsoft.com/office/drawing/2014/main" id="{F31C4781-7E3F-44CC-B187-06CDB260D79A}"/>
                </a:ext>
              </a:extLst>
            </p:cNvPr>
            <p:cNvSpPr/>
            <p:nvPr/>
          </p:nvSpPr>
          <p:spPr>
            <a:xfrm>
              <a:off x="2920047" y="269788"/>
              <a:ext cx="78971" cy="92322"/>
            </a:xfrm>
            <a:custGeom>
              <a:avLst/>
              <a:gdLst/>
              <a:ahLst/>
              <a:cxnLst/>
              <a:rect l="l" t="t" r="r" b="b"/>
              <a:pathLst>
                <a:path w="78973" h="92382">
                  <a:moveTo>
                    <a:pt x="67141" y="59535"/>
                  </a:moveTo>
                  <a:lnTo>
                    <a:pt x="78963" y="62520"/>
                  </a:lnTo>
                  <a:quadBezTo>
                    <a:pt x="75249" y="77091"/>
                    <a:pt x="65584" y="84737"/>
                  </a:quadBezTo>
                  <a:quadBezTo>
                    <a:pt x="55929" y="92382"/>
                    <a:pt x="41979" y="92382"/>
                  </a:quadBezTo>
                  <a:quadBezTo>
                    <a:pt x="27536" y="92382"/>
                    <a:pt x="18482" y="86500"/>
                  </a:quadBezTo>
                  <a:quadBezTo>
                    <a:pt x="9438" y="80618"/>
                    <a:pt x="4709" y="69476"/>
                  </a:quadBezTo>
                  <a:quadBezTo>
                    <a:pt x="-9" y="58323"/>
                    <a:pt x="-9" y="45526"/>
                  </a:quadBezTo>
                  <a:quadBezTo>
                    <a:pt x="-9" y="31565"/>
                    <a:pt x="5320" y="21181"/>
                  </a:quadBezTo>
                  <a:quadBezTo>
                    <a:pt x="10659" y="10787"/>
                    <a:pt x="20502" y="5398"/>
                  </a:quadBezTo>
                  <a:quadBezTo>
                    <a:pt x="30344" y="9"/>
                    <a:pt x="42156" y="9"/>
                  </a:quadBezTo>
                  <a:quadBezTo>
                    <a:pt x="55565" y="9"/>
                    <a:pt x="64707" y="6837"/>
                  </a:quadBezTo>
                  <a:quadBezTo>
                    <a:pt x="73850" y="13654"/>
                    <a:pt x="77446" y="26028"/>
                  </a:quadBezTo>
                  <a:lnTo>
                    <a:pt x="65801" y="28767"/>
                  </a:lnTo>
                  <a:quadBezTo>
                    <a:pt x="62698" y="19014"/>
                    <a:pt x="56786" y="14571"/>
                  </a:quadBezTo>
                  <a:quadBezTo>
                    <a:pt x="50875" y="10118"/>
                    <a:pt x="41920" y="10118"/>
                  </a:quadBezTo>
                  <a:quadBezTo>
                    <a:pt x="31615" y="10118"/>
                    <a:pt x="24698" y="15053"/>
                  </a:quadBezTo>
                  <a:quadBezTo>
                    <a:pt x="17782" y="19989"/>
                    <a:pt x="14975" y="28314"/>
                  </a:quadBezTo>
                  <a:quadBezTo>
                    <a:pt x="12177" y="36629"/>
                    <a:pt x="12177" y="45466"/>
                  </a:quadBezTo>
                  <a:quadBezTo>
                    <a:pt x="12177" y="56855"/>
                    <a:pt x="15497" y="65358"/>
                  </a:quadBezTo>
                  <a:quadBezTo>
                    <a:pt x="18827" y="73860"/>
                    <a:pt x="25831" y="78067"/>
                  </a:quadBezTo>
                  <a:quadBezTo>
                    <a:pt x="32836" y="82264"/>
                    <a:pt x="41004" y="82264"/>
                  </a:quadBezTo>
                  <a:quadBezTo>
                    <a:pt x="50934" y="82264"/>
                    <a:pt x="57821" y="76540"/>
                  </a:quadBezTo>
                  <a:quadBezTo>
                    <a:pt x="64707" y="70816"/>
                    <a:pt x="67141" y="59535"/>
                  </a:quad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354" name="AtomLabel27">
              <a:extLst>
                <a:ext uri="{FF2B5EF4-FFF2-40B4-BE49-F238E27FC236}">
                  <a16:creationId xmlns:a16="http://schemas.microsoft.com/office/drawing/2014/main" id="{AE5DC38E-47E0-4FBA-994D-FEFD97270A5E}"/>
                </a:ext>
              </a:extLst>
            </p:cNvPr>
            <p:cNvSpPr/>
            <p:nvPr/>
          </p:nvSpPr>
          <p:spPr>
            <a:xfrm>
              <a:off x="2784861" y="271314"/>
              <a:ext cx="70075" cy="89270"/>
            </a:xfrm>
            <a:custGeom>
              <a:avLst/>
              <a:gdLst/>
              <a:ahLst/>
              <a:cxnLst/>
              <a:rect l="l" t="t" r="r" b="b"/>
              <a:pathLst>
                <a:path w="70077" h="89328">
                  <a:moveTo>
                    <a:pt x="0" y="89328"/>
                  </a:moveTo>
                  <a:lnTo>
                    <a:pt x="0" y="0"/>
                  </a:lnTo>
                  <a:lnTo>
                    <a:pt x="11822" y="0"/>
                  </a:lnTo>
                  <a:lnTo>
                    <a:pt x="11822" y="36688"/>
                  </a:lnTo>
                  <a:lnTo>
                    <a:pt x="58254" y="36688"/>
                  </a:lnTo>
                  <a:lnTo>
                    <a:pt x="58254" y="0"/>
                  </a:lnTo>
                  <a:lnTo>
                    <a:pt x="70077" y="0"/>
                  </a:lnTo>
                  <a:lnTo>
                    <a:pt x="70077" y="89328"/>
                  </a:lnTo>
                  <a:lnTo>
                    <a:pt x="58254" y="89328"/>
                  </a:lnTo>
                  <a:lnTo>
                    <a:pt x="58254" y="47230"/>
                  </a:lnTo>
                  <a:lnTo>
                    <a:pt x="11822" y="47230"/>
                  </a:lnTo>
                  <a:lnTo>
                    <a:pt x="11822" y="8932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355" name="AtomLabel28">
              <a:extLst>
                <a:ext uri="{FF2B5EF4-FFF2-40B4-BE49-F238E27FC236}">
                  <a16:creationId xmlns:a16="http://schemas.microsoft.com/office/drawing/2014/main" id="{B73D5B42-F9DB-4077-B575-41E787EBA4C3}"/>
                </a:ext>
              </a:extLst>
            </p:cNvPr>
            <p:cNvSpPr/>
            <p:nvPr/>
          </p:nvSpPr>
          <p:spPr>
            <a:xfrm>
              <a:off x="2874985" y="323473"/>
              <a:ext cx="35099" cy="54731"/>
            </a:xfrm>
            <a:custGeom>
              <a:avLst/>
              <a:gdLst/>
              <a:ahLst/>
              <a:cxnLst/>
              <a:rect l="l" t="t" r="r" b="b"/>
              <a:pathLst>
                <a:path w="35100" h="54767">
                  <a:moveTo>
                    <a:pt x="-5" y="39670"/>
                  </a:moveTo>
                  <a:lnTo>
                    <a:pt x="6579" y="38789"/>
                  </a:lnTo>
                  <a:quadBezTo>
                    <a:pt x="7708" y="44387"/>
                    <a:pt x="10433" y="46858"/>
                  </a:quadBezTo>
                  <a:quadBezTo>
                    <a:pt x="13158" y="49323"/>
                    <a:pt x="17071" y="49323"/>
                  </a:quadBezTo>
                  <a:quadBezTo>
                    <a:pt x="21711" y="49323"/>
                    <a:pt x="24909" y="46107"/>
                  </a:quadBezTo>
                  <a:quadBezTo>
                    <a:pt x="28113" y="42885"/>
                    <a:pt x="28113" y="38133"/>
                  </a:quadBezTo>
                  <a:quadBezTo>
                    <a:pt x="28113" y="33599"/>
                    <a:pt x="25152" y="30655"/>
                  </a:quadBezTo>
                  <a:quadBezTo>
                    <a:pt x="22190" y="27711"/>
                    <a:pt x="17621" y="27711"/>
                  </a:quadBezTo>
                  <a:quadBezTo>
                    <a:pt x="15753" y="27711"/>
                    <a:pt x="12975" y="28444"/>
                  </a:quadBezTo>
                  <a:lnTo>
                    <a:pt x="13708" y="22669"/>
                  </a:lnTo>
                  <a:quadBezTo>
                    <a:pt x="14364" y="22740"/>
                    <a:pt x="14766" y="22740"/>
                  </a:quadBezTo>
                  <a:quadBezTo>
                    <a:pt x="18969" y="22740"/>
                    <a:pt x="22332" y="20547"/>
                  </a:quadBezTo>
                  <a:quadBezTo>
                    <a:pt x="25701" y="18354"/>
                    <a:pt x="25701" y="13784"/>
                  </a:quadBezTo>
                  <a:quadBezTo>
                    <a:pt x="25701" y="10167"/>
                    <a:pt x="23248" y="7790"/>
                  </a:quadBezTo>
                  <a:quadBezTo>
                    <a:pt x="20801" y="5408"/>
                    <a:pt x="16923" y="5408"/>
                  </a:quadBezTo>
                  <a:quadBezTo>
                    <a:pt x="13087" y="5408"/>
                    <a:pt x="10527" y="7826"/>
                  </a:quadBezTo>
                  <a:quadBezTo>
                    <a:pt x="7968" y="10238"/>
                    <a:pt x="7235" y="15061"/>
                  </a:quadBezTo>
                  <a:lnTo>
                    <a:pt x="656" y="13891"/>
                  </a:lnTo>
                  <a:quadBezTo>
                    <a:pt x="1862" y="7276"/>
                    <a:pt x="6135" y="3641"/>
                  </a:quadBezTo>
                  <a:quadBezTo>
                    <a:pt x="10415" y="0"/>
                    <a:pt x="16775" y="0"/>
                  </a:quadBezTo>
                  <a:quadBezTo>
                    <a:pt x="21168" y="0"/>
                    <a:pt x="24856" y="1885"/>
                  </a:quadBezTo>
                  <a:quadBezTo>
                    <a:pt x="28551" y="3765"/>
                    <a:pt x="30507" y="7022"/>
                  </a:quadBezTo>
                  <a:quadBezTo>
                    <a:pt x="32464" y="10273"/>
                    <a:pt x="32464" y="13932"/>
                  </a:quadBezTo>
                  <a:quadBezTo>
                    <a:pt x="32464" y="17402"/>
                    <a:pt x="30596" y="20257"/>
                  </a:quadBezTo>
                  <a:quadBezTo>
                    <a:pt x="28734" y="23106"/>
                    <a:pt x="25075" y="24791"/>
                  </a:quadBezTo>
                  <a:quadBezTo>
                    <a:pt x="29827" y="25885"/>
                    <a:pt x="32458" y="29343"/>
                  </a:quadBezTo>
                  <a:quadBezTo>
                    <a:pt x="35094" y="32795"/>
                    <a:pt x="35094" y="37985"/>
                  </a:quadBezTo>
                  <a:quadBezTo>
                    <a:pt x="35094" y="45007"/>
                    <a:pt x="29975" y="49890"/>
                  </a:quadBezTo>
                  <a:quadBezTo>
                    <a:pt x="24856" y="54767"/>
                    <a:pt x="17036" y="54767"/>
                  </a:quadBezTo>
                  <a:quadBezTo>
                    <a:pt x="9978" y="54767"/>
                    <a:pt x="5314" y="50564"/>
                  </a:quadBezTo>
                  <a:quadBezTo>
                    <a:pt x="656" y="46361"/>
                    <a:pt x="-5" y="39670"/>
                  </a:quad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356" name="BondLine41">
              <a:extLst>
                <a:ext uri="{FF2B5EF4-FFF2-40B4-BE49-F238E27FC236}">
                  <a16:creationId xmlns:a16="http://schemas.microsoft.com/office/drawing/2014/main" id="{B6066108-B1A5-4278-B104-2288C0A328E3}"/>
                </a:ext>
              </a:extLst>
            </p:cNvPr>
            <p:cNvSpPr/>
            <p:nvPr/>
          </p:nvSpPr>
          <p:spPr>
            <a:xfrm>
              <a:off x="5598192" y="705138"/>
              <a:ext cx="90949" cy="52476"/>
            </a:xfrm>
            <a:custGeom>
              <a:avLst/>
              <a:gdLst/>
              <a:ahLst/>
              <a:cxnLst/>
              <a:rect l="l" t="t" r="r" b="b"/>
              <a:pathLst>
                <a:path w="90951" h="52510">
                  <a:moveTo>
                    <a:pt x="90951" y="52510"/>
                  </a:moveTo>
                  <a:lnTo>
                    <a:pt x="0" y="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357" name="BondLine42">
              <a:extLst>
                <a:ext uri="{FF2B5EF4-FFF2-40B4-BE49-F238E27FC236}">
                  <a16:creationId xmlns:a16="http://schemas.microsoft.com/office/drawing/2014/main" id="{F11411B1-509A-4AA1-96E8-51CF9D4E5787}"/>
                </a:ext>
              </a:extLst>
            </p:cNvPr>
            <p:cNvSpPr/>
            <p:nvPr/>
          </p:nvSpPr>
          <p:spPr>
            <a:xfrm>
              <a:off x="5469244" y="705138"/>
              <a:ext cx="90949" cy="52476"/>
            </a:xfrm>
            <a:custGeom>
              <a:avLst/>
              <a:gdLst/>
              <a:ahLst/>
              <a:cxnLst/>
              <a:rect l="l" t="t" r="r" b="b"/>
              <a:pathLst>
                <a:path w="90951" h="52510">
                  <a:moveTo>
                    <a:pt x="90951" y="0"/>
                  </a:moveTo>
                  <a:lnTo>
                    <a:pt x="0" y="5251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358" name="BondLine43">
              <a:extLst>
                <a:ext uri="{FF2B5EF4-FFF2-40B4-BE49-F238E27FC236}">
                  <a16:creationId xmlns:a16="http://schemas.microsoft.com/office/drawing/2014/main" id="{AA136277-2096-4240-A127-AD74DF9992FD}"/>
                </a:ext>
              </a:extLst>
            </p:cNvPr>
            <p:cNvSpPr/>
            <p:nvPr/>
          </p:nvSpPr>
          <p:spPr>
            <a:xfrm>
              <a:off x="5598192" y="563883"/>
              <a:ext cx="0" cy="141255"/>
            </a:xfrm>
            <a:custGeom>
              <a:avLst/>
              <a:gdLst/>
              <a:ahLst/>
              <a:cxnLst/>
              <a:rect l="l" t="t" r="r" b="b"/>
              <a:pathLst>
                <a:path h="141347">
                  <a:moveTo>
                    <a:pt x="0" y="141347"/>
                  </a:moveTo>
                  <a:lnTo>
                    <a:pt x="0" y="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359" name="BondLine44">
              <a:extLst>
                <a:ext uri="{FF2B5EF4-FFF2-40B4-BE49-F238E27FC236}">
                  <a16:creationId xmlns:a16="http://schemas.microsoft.com/office/drawing/2014/main" id="{DAD90435-87B9-4530-9A6A-CAA4130F2412}"/>
                </a:ext>
              </a:extLst>
            </p:cNvPr>
            <p:cNvSpPr/>
            <p:nvPr/>
          </p:nvSpPr>
          <p:spPr>
            <a:xfrm>
              <a:off x="5560193" y="563883"/>
              <a:ext cx="0" cy="141254"/>
            </a:xfrm>
            <a:custGeom>
              <a:avLst/>
              <a:gdLst/>
              <a:ahLst/>
              <a:cxnLst/>
              <a:rect l="l" t="t" r="r" b="b"/>
              <a:pathLst>
                <a:path h="141346">
                  <a:moveTo>
                    <a:pt x="0" y="141346"/>
                  </a:moveTo>
                  <a:lnTo>
                    <a:pt x="0" y="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360" name="BondLine45">
              <a:extLst>
                <a:ext uri="{FF2B5EF4-FFF2-40B4-BE49-F238E27FC236}">
                  <a16:creationId xmlns:a16="http://schemas.microsoft.com/office/drawing/2014/main" id="{26F922D2-326A-45F3-BF86-BDA3641F339B}"/>
                </a:ext>
              </a:extLst>
            </p:cNvPr>
            <p:cNvSpPr/>
            <p:nvPr/>
          </p:nvSpPr>
          <p:spPr>
            <a:xfrm>
              <a:off x="5250111" y="694176"/>
              <a:ext cx="109948" cy="63439"/>
            </a:xfrm>
            <a:custGeom>
              <a:avLst/>
              <a:gdLst/>
              <a:ahLst/>
              <a:cxnLst/>
              <a:rect l="l" t="t" r="r" b="b"/>
              <a:pathLst>
                <a:path w="109951" h="63480">
                  <a:moveTo>
                    <a:pt x="109951" y="63480"/>
                  </a:moveTo>
                  <a:lnTo>
                    <a:pt x="0" y="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361" name="BondLine46">
              <a:extLst>
                <a:ext uri="{FF2B5EF4-FFF2-40B4-BE49-F238E27FC236}">
                  <a16:creationId xmlns:a16="http://schemas.microsoft.com/office/drawing/2014/main" id="{82B93EA4-A765-4AD8-8A8D-F4D625DCF744}"/>
                </a:ext>
              </a:extLst>
            </p:cNvPr>
            <p:cNvSpPr/>
            <p:nvPr/>
          </p:nvSpPr>
          <p:spPr>
            <a:xfrm>
              <a:off x="5085571" y="694176"/>
              <a:ext cx="164540" cy="94938"/>
            </a:xfrm>
            <a:custGeom>
              <a:avLst/>
              <a:gdLst/>
              <a:ahLst/>
              <a:cxnLst/>
              <a:rect l="l" t="t" r="r" b="b"/>
              <a:pathLst>
                <a:path w="164544" h="95000">
                  <a:moveTo>
                    <a:pt x="164544" y="0"/>
                  </a:moveTo>
                  <a:lnTo>
                    <a:pt x="0" y="9500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362" name="BondLine47">
              <a:extLst>
                <a:ext uri="{FF2B5EF4-FFF2-40B4-BE49-F238E27FC236}">
                  <a16:creationId xmlns:a16="http://schemas.microsoft.com/office/drawing/2014/main" id="{B5FB3D93-E297-4328-9C3B-1A8637991217}"/>
                </a:ext>
              </a:extLst>
            </p:cNvPr>
            <p:cNvSpPr/>
            <p:nvPr/>
          </p:nvSpPr>
          <p:spPr>
            <a:xfrm>
              <a:off x="5250111" y="504299"/>
              <a:ext cx="0" cy="189877"/>
            </a:xfrm>
            <a:custGeom>
              <a:avLst/>
              <a:gdLst/>
              <a:ahLst/>
              <a:cxnLst/>
              <a:rect l="l" t="t" r="r" b="b"/>
              <a:pathLst>
                <a:path h="190000">
                  <a:moveTo>
                    <a:pt x="0" y="0"/>
                  </a:moveTo>
                  <a:lnTo>
                    <a:pt x="0" y="19000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363" name="BondLine48">
              <a:extLst>
                <a:ext uri="{FF2B5EF4-FFF2-40B4-BE49-F238E27FC236}">
                  <a16:creationId xmlns:a16="http://schemas.microsoft.com/office/drawing/2014/main" id="{411C7048-7576-4CB0-88AA-5B44EC3656BF}"/>
                </a:ext>
              </a:extLst>
            </p:cNvPr>
            <p:cNvSpPr/>
            <p:nvPr/>
          </p:nvSpPr>
          <p:spPr>
            <a:xfrm>
              <a:off x="5212112" y="526224"/>
              <a:ext cx="0" cy="146026"/>
            </a:xfrm>
            <a:custGeom>
              <a:avLst/>
              <a:gdLst/>
              <a:ahLst/>
              <a:cxnLst/>
              <a:rect l="l" t="t" r="r" b="b"/>
              <a:pathLst>
                <a:path h="146121">
                  <a:moveTo>
                    <a:pt x="0" y="0"/>
                  </a:moveTo>
                  <a:lnTo>
                    <a:pt x="0" y="146121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364" name="BondLine49">
              <a:extLst>
                <a:ext uri="{FF2B5EF4-FFF2-40B4-BE49-F238E27FC236}">
                  <a16:creationId xmlns:a16="http://schemas.microsoft.com/office/drawing/2014/main" id="{714F243A-C0DC-48A4-906B-A01C8335DF1D}"/>
                </a:ext>
              </a:extLst>
            </p:cNvPr>
            <p:cNvSpPr/>
            <p:nvPr/>
          </p:nvSpPr>
          <p:spPr>
            <a:xfrm>
              <a:off x="4921031" y="694176"/>
              <a:ext cx="164540" cy="94938"/>
            </a:xfrm>
            <a:custGeom>
              <a:avLst/>
              <a:gdLst/>
              <a:ahLst/>
              <a:cxnLst/>
              <a:rect l="l" t="t" r="r" b="b"/>
              <a:pathLst>
                <a:path w="164544" h="95000">
                  <a:moveTo>
                    <a:pt x="164544" y="95000"/>
                  </a:moveTo>
                  <a:lnTo>
                    <a:pt x="0" y="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365" name="BondLine50">
              <a:extLst>
                <a:ext uri="{FF2B5EF4-FFF2-40B4-BE49-F238E27FC236}">
                  <a16:creationId xmlns:a16="http://schemas.microsoft.com/office/drawing/2014/main" id="{68DA8A39-A899-42D7-8C7A-E2CA4B7DA0FC}"/>
                </a:ext>
              </a:extLst>
            </p:cNvPr>
            <p:cNvSpPr/>
            <p:nvPr/>
          </p:nvSpPr>
          <p:spPr>
            <a:xfrm>
              <a:off x="4959030" y="672251"/>
              <a:ext cx="126541" cy="73013"/>
            </a:xfrm>
            <a:custGeom>
              <a:avLst/>
              <a:gdLst/>
              <a:ahLst/>
              <a:cxnLst/>
              <a:rect l="l" t="t" r="r" b="b"/>
              <a:pathLst>
                <a:path w="126544" h="73060">
                  <a:moveTo>
                    <a:pt x="126544" y="73060"/>
                  </a:moveTo>
                  <a:lnTo>
                    <a:pt x="0" y="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366" name="BondLine51">
              <a:extLst>
                <a:ext uri="{FF2B5EF4-FFF2-40B4-BE49-F238E27FC236}">
                  <a16:creationId xmlns:a16="http://schemas.microsoft.com/office/drawing/2014/main" id="{2ED04B85-59EF-4E78-9481-1BC35A3D4CD4}"/>
                </a:ext>
              </a:extLst>
            </p:cNvPr>
            <p:cNvSpPr/>
            <p:nvPr/>
          </p:nvSpPr>
          <p:spPr>
            <a:xfrm>
              <a:off x="4921031" y="504299"/>
              <a:ext cx="0" cy="189877"/>
            </a:xfrm>
            <a:custGeom>
              <a:avLst/>
              <a:gdLst/>
              <a:ahLst/>
              <a:cxnLst/>
              <a:rect l="l" t="t" r="r" b="b"/>
              <a:pathLst>
                <a:path h="190000">
                  <a:moveTo>
                    <a:pt x="0" y="190000"/>
                  </a:moveTo>
                  <a:lnTo>
                    <a:pt x="0" y="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367" name="BondLine52">
              <a:extLst>
                <a:ext uri="{FF2B5EF4-FFF2-40B4-BE49-F238E27FC236}">
                  <a16:creationId xmlns:a16="http://schemas.microsoft.com/office/drawing/2014/main" id="{0CEC02DC-EF41-431A-8274-C423EB52807E}"/>
                </a:ext>
              </a:extLst>
            </p:cNvPr>
            <p:cNvSpPr/>
            <p:nvPr/>
          </p:nvSpPr>
          <p:spPr>
            <a:xfrm>
              <a:off x="4921031" y="409361"/>
              <a:ext cx="164540" cy="94938"/>
            </a:xfrm>
            <a:custGeom>
              <a:avLst/>
              <a:gdLst/>
              <a:ahLst/>
              <a:cxnLst/>
              <a:rect l="l" t="t" r="r" b="b"/>
              <a:pathLst>
                <a:path w="164544" h="95000">
                  <a:moveTo>
                    <a:pt x="0" y="95000"/>
                  </a:moveTo>
                  <a:lnTo>
                    <a:pt x="164544" y="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368" name="BondLine53">
              <a:extLst>
                <a:ext uri="{FF2B5EF4-FFF2-40B4-BE49-F238E27FC236}">
                  <a16:creationId xmlns:a16="http://schemas.microsoft.com/office/drawing/2014/main" id="{DFB95014-C0F8-4C57-9434-707594F8E3BE}"/>
                </a:ext>
              </a:extLst>
            </p:cNvPr>
            <p:cNvSpPr/>
            <p:nvPr/>
          </p:nvSpPr>
          <p:spPr>
            <a:xfrm>
              <a:off x="4959029" y="453211"/>
              <a:ext cx="126541" cy="73013"/>
            </a:xfrm>
            <a:custGeom>
              <a:avLst/>
              <a:gdLst/>
              <a:ahLst/>
              <a:cxnLst/>
              <a:rect l="l" t="t" r="r" b="b"/>
              <a:pathLst>
                <a:path w="126544" h="73060">
                  <a:moveTo>
                    <a:pt x="0" y="73060"/>
                  </a:moveTo>
                  <a:lnTo>
                    <a:pt x="126544" y="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369" name="BondLine54">
              <a:extLst>
                <a:ext uri="{FF2B5EF4-FFF2-40B4-BE49-F238E27FC236}">
                  <a16:creationId xmlns:a16="http://schemas.microsoft.com/office/drawing/2014/main" id="{E9BFBDED-5527-4064-AA28-01812DF38B3A}"/>
                </a:ext>
              </a:extLst>
            </p:cNvPr>
            <p:cNvSpPr/>
            <p:nvPr/>
          </p:nvSpPr>
          <p:spPr>
            <a:xfrm>
              <a:off x="5085571" y="409361"/>
              <a:ext cx="164540" cy="94938"/>
            </a:xfrm>
            <a:custGeom>
              <a:avLst/>
              <a:gdLst/>
              <a:ahLst/>
              <a:cxnLst/>
              <a:rect l="l" t="t" r="r" b="b"/>
              <a:pathLst>
                <a:path w="164544" h="95000">
                  <a:moveTo>
                    <a:pt x="0" y="0"/>
                  </a:moveTo>
                  <a:lnTo>
                    <a:pt x="164544" y="95000"/>
                  </a:lnTo>
                </a:path>
              </a:pathLst>
            </a:custGeom>
            <a:ln w="9525" cap="rnd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370" name="AtomLabel5">
              <a:extLst>
                <a:ext uri="{FF2B5EF4-FFF2-40B4-BE49-F238E27FC236}">
                  <a16:creationId xmlns:a16="http://schemas.microsoft.com/office/drawing/2014/main" id="{01DE10B1-16C7-4771-9AA4-656658CA1F71}"/>
                </a:ext>
              </a:extLst>
            </p:cNvPr>
            <p:cNvSpPr/>
            <p:nvPr/>
          </p:nvSpPr>
          <p:spPr>
            <a:xfrm>
              <a:off x="5371934" y="744450"/>
              <a:ext cx="85434" cy="92381"/>
            </a:xfrm>
            <a:custGeom>
              <a:avLst/>
              <a:gdLst/>
              <a:ahLst/>
              <a:cxnLst/>
              <a:rect l="l" t="t" r="r" b="b"/>
              <a:pathLst>
                <a:path w="85436" h="92441">
                  <a:moveTo>
                    <a:pt x="0" y="47407"/>
                  </a:moveTo>
                  <a:quadBezTo>
                    <a:pt x="0" y="25171"/>
                    <a:pt x="11940" y="12590"/>
                  </a:quadBezTo>
                  <a:quadBezTo>
                    <a:pt x="23881" y="0"/>
                    <a:pt x="42777" y="0"/>
                  </a:quadBezTo>
                  <a:quadBezTo>
                    <a:pt x="55141" y="0"/>
                    <a:pt x="65072" y="5911"/>
                  </a:quadBezTo>
                  <a:quadBezTo>
                    <a:pt x="75013" y="11822"/>
                    <a:pt x="80214" y="22403"/>
                  </a:quadBezTo>
                  <a:quadBezTo>
                    <a:pt x="85426" y="32974"/>
                    <a:pt x="85426" y="46373"/>
                  </a:quadBezTo>
                  <a:quadBezTo>
                    <a:pt x="85426" y="59959"/>
                    <a:pt x="79939" y="70688"/>
                  </a:quadBezTo>
                  <a:quadBezTo>
                    <a:pt x="74461" y="81416"/>
                    <a:pt x="64402" y="86934"/>
                  </a:quadBezTo>
                  <a:quadBezTo>
                    <a:pt x="54353" y="92441"/>
                    <a:pt x="42718" y="92441"/>
                  </a:quadBezTo>
                  <a:quadBezTo>
                    <a:pt x="30097" y="92441"/>
                    <a:pt x="20167" y="86352"/>
                  </a:quadBezTo>
                  <a:quadBezTo>
                    <a:pt x="10236" y="80254"/>
                    <a:pt x="5113" y="69712"/>
                  </a:quadBezTo>
                  <a:quadBezTo>
                    <a:pt x="0" y="59171"/>
                    <a:pt x="0" y="47407"/>
                  </a:quadBezTo>
                  <a:close/>
                  <a:moveTo>
                    <a:pt x="12186" y="47595"/>
                  </a:moveTo>
                  <a:quadBezTo>
                    <a:pt x="12186" y="63742"/>
                    <a:pt x="20866" y="73032"/>
                  </a:quadBezTo>
                  <a:quadBezTo>
                    <a:pt x="29556" y="82323"/>
                    <a:pt x="42649" y="82323"/>
                  </a:quadBezTo>
                  <a:quadBezTo>
                    <a:pt x="55998" y="82323"/>
                    <a:pt x="64619" y="72944"/>
                  </a:quadBezTo>
                  <a:quadBezTo>
                    <a:pt x="73239" y="63555"/>
                    <a:pt x="73239" y="46314"/>
                  </a:quadBezTo>
                  <a:quadBezTo>
                    <a:pt x="73239" y="35408"/>
                    <a:pt x="69555" y="27270"/>
                  </a:quadBezTo>
                  <a:quadBezTo>
                    <a:pt x="65870" y="19132"/>
                    <a:pt x="58767" y="14659"/>
                  </a:quadBezTo>
                  <a:quadBezTo>
                    <a:pt x="51673" y="10177"/>
                    <a:pt x="42836" y="10177"/>
                  </a:quadBezTo>
                  <a:quadBezTo>
                    <a:pt x="30285" y="10177"/>
                    <a:pt x="21231" y="18807"/>
                  </a:quadBezTo>
                  <a:quadBezTo>
                    <a:pt x="12186" y="27427"/>
                    <a:pt x="12186" y="47595"/>
                  </a:quad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sp>
          <p:nvSpPr>
            <p:cNvPr id="371" name="AtomLabel6">
              <a:extLst>
                <a:ext uri="{FF2B5EF4-FFF2-40B4-BE49-F238E27FC236}">
                  <a16:creationId xmlns:a16="http://schemas.microsoft.com/office/drawing/2014/main" id="{295E106C-B0FB-498C-B034-E15E9E0FF793}"/>
                </a:ext>
              </a:extLst>
            </p:cNvPr>
            <p:cNvSpPr/>
            <p:nvPr/>
          </p:nvSpPr>
          <p:spPr>
            <a:xfrm>
              <a:off x="5536475" y="459634"/>
              <a:ext cx="85434" cy="92381"/>
            </a:xfrm>
            <a:custGeom>
              <a:avLst/>
              <a:gdLst/>
              <a:ahLst/>
              <a:cxnLst/>
              <a:rect l="l" t="t" r="r" b="b"/>
              <a:pathLst>
                <a:path w="85436" h="92441">
                  <a:moveTo>
                    <a:pt x="0" y="47407"/>
                  </a:moveTo>
                  <a:quadBezTo>
                    <a:pt x="0" y="25171"/>
                    <a:pt x="11940" y="12590"/>
                  </a:quadBezTo>
                  <a:quadBezTo>
                    <a:pt x="23881" y="0"/>
                    <a:pt x="42777" y="0"/>
                  </a:quadBezTo>
                  <a:quadBezTo>
                    <a:pt x="55141" y="0"/>
                    <a:pt x="65072" y="5911"/>
                  </a:quadBezTo>
                  <a:quadBezTo>
                    <a:pt x="75013" y="11822"/>
                    <a:pt x="80214" y="22403"/>
                  </a:quadBezTo>
                  <a:quadBezTo>
                    <a:pt x="85426" y="32974"/>
                    <a:pt x="85426" y="46373"/>
                  </a:quadBezTo>
                  <a:quadBezTo>
                    <a:pt x="85426" y="59959"/>
                    <a:pt x="79939" y="70688"/>
                  </a:quadBezTo>
                  <a:quadBezTo>
                    <a:pt x="74461" y="81416"/>
                    <a:pt x="64402" y="86934"/>
                  </a:quadBezTo>
                  <a:quadBezTo>
                    <a:pt x="54353" y="92441"/>
                    <a:pt x="42718" y="92441"/>
                  </a:quadBezTo>
                  <a:quadBezTo>
                    <a:pt x="30097" y="92441"/>
                    <a:pt x="20167" y="86352"/>
                  </a:quadBezTo>
                  <a:quadBezTo>
                    <a:pt x="10236" y="80254"/>
                    <a:pt x="5113" y="69712"/>
                  </a:quadBezTo>
                  <a:quadBezTo>
                    <a:pt x="0" y="59171"/>
                    <a:pt x="0" y="47407"/>
                  </a:quadBezTo>
                  <a:close/>
                  <a:moveTo>
                    <a:pt x="12186" y="47595"/>
                  </a:moveTo>
                  <a:quadBezTo>
                    <a:pt x="12186" y="63742"/>
                    <a:pt x="20866" y="73032"/>
                  </a:quadBezTo>
                  <a:quadBezTo>
                    <a:pt x="29556" y="82323"/>
                    <a:pt x="42649" y="82323"/>
                  </a:quadBezTo>
                  <a:quadBezTo>
                    <a:pt x="55998" y="82323"/>
                    <a:pt x="64619" y="72944"/>
                  </a:quadBezTo>
                  <a:quadBezTo>
                    <a:pt x="73239" y="63555"/>
                    <a:pt x="73239" y="46314"/>
                  </a:quadBezTo>
                  <a:quadBezTo>
                    <a:pt x="73239" y="35408"/>
                    <a:pt x="69555" y="27270"/>
                  </a:quadBezTo>
                  <a:quadBezTo>
                    <a:pt x="65870" y="19132"/>
                    <a:pt x="58767" y="14659"/>
                  </a:quadBezTo>
                  <a:quadBezTo>
                    <a:pt x="51673" y="10177"/>
                    <a:pt x="42836" y="10177"/>
                  </a:quadBezTo>
                  <a:quadBezTo>
                    <a:pt x="30285" y="10177"/>
                    <a:pt x="21231" y="18807"/>
                  </a:quadBezTo>
                  <a:quadBezTo>
                    <a:pt x="12186" y="27427"/>
                    <a:pt x="12186" y="47595"/>
                  </a:quad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/>
            <a:lstStyle/>
            <a:p>
              <a:endParaRPr lang="de-DE"/>
            </a:p>
          </p:txBody>
        </p:sp>
        <p:cxnSp>
          <p:nvCxnSpPr>
            <p:cNvPr id="372" name="Gerader Verbinder 371">
              <a:extLst>
                <a:ext uri="{FF2B5EF4-FFF2-40B4-BE49-F238E27FC236}">
                  <a16:creationId xmlns:a16="http://schemas.microsoft.com/office/drawing/2014/main" id="{251E4717-EB55-49B6-95D5-B850E29D5B70}"/>
                </a:ext>
              </a:extLst>
            </p:cNvPr>
            <p:cNvCxnSpPr>
              <a:cxnSpLocks/>
            </p:cNvCxnSpPr>
            <p:nvPr/>
          </p:nvCxnSpPr>
          <p:spPr>
            <a:xfrm>
              <a:off x="4763612" y="409361"/>
              <a:ext cx="152494" cy="94938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3" name="Gerader Verbinder 372">
              <a:extLst>
                <a:ext uri="{FF2B5EF4-FFF2-40B4-BE49-F238E27FC236}">
                  <a16:creationId xmlns:a16="http://schemas.microsoft.com/office/drawing/2014/main" id="{C38F4554-B284-4FA4-A54F-BA9BE80C07D8}"/>
                </a:ext>
              </a:extLst>
            </p:cNvPr>
            <p:cNvCxnSpPr/>
            <p:nvPr/>
          </p:nvCxnSpPr>
          <p:spPr>
            <a:xfrm>
              <a:off x="162344" y="79513"/>
              <a:ext cx="0" cy="974035"/>
            </a:xfrm>
            <a:prstGeom prst="line">
              <a:avLst/>
            </a:prstGeom>
            <a:ln>
              <a:solidFill>
                <a:srgbClr val="FFC000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4" name="Gerader Verbinder 373">
              <a:extLst>
                <a:ext uri="{FF2B5EF4-FFF2-40B4-BE49-F238E27FC236}">
                  <a16:creationId xmlns:a16="http://schemas.microsoft.com/office/drawing/2014/main" id="{ECDB536E-C66F-4460-8D2D-58138F87FB20}"/>
                </a:ext>
              </a:extLst>
            </p:cNvPr>
            <p:cNvCxnSpPr/>
            <p:nvPr/>
          </p:nvCxnSpPr>
          <p:spPr>
            <a:xfrm>
              <a:off x="5689141" y="79513"/>
              <a:ext cx="0" cy="974035"/>
            </a:xfrm>
            <a:prstGeom prst="line">
              <a:avLst/>
            </a:prstGeom>
            <a:ln>
              <a:solidFill>
                <a:srgbClr val="FFC000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5" name="Gerader Verbinder 374">
              <a:extLst>
                <a:ext uri="{FF2B5EF4-FFF2-40B4-BE49-F238E27FC236}">
                  <a16:creationId xmlns:a16="http://schemas.microsoft.com/office/drawing/2014/main" id="{3F2C912B-9234-4649-976F-4EC5D2310B9F}"/>
                </a:ext>
              </a:extLst>
            </p:cNvPr>
            <p:cNvCxnSpPr>
              <a:cxnSpLocks/>
            </p:cNvCxnSpPr>
            <p:nvPr/>
          </p:nvCxnSpPr>
          <p:spPr>
            <a:xfrm>
              <a:off x="162348" y="1053548"/>
              <a:ext cx="5526793" cy="0"/>
            </a:xfrm>
            <a:prstGeom prst="line">
              <a:avLst/>
            </a:prstGeom>
            <a:ln>
              <a:solidFill>
                <a:srgbClr val="FFC000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9" name="Gerader Verbinder 378">
              <a:extLst>
                <a:ext uri="{FF2B5EF4-FFF2-40B4-BE49-F238E27FC236}">
                  <a16:creationId xmlns:a16="http://schemas.microsoft.com/office/drawing/2014/main" id="{DB1BD118-FE83-46CB-8F4D-39E6545AEF9D}"/>
                </a:ext>
              </a:extLst>
            </p:cNvPr>
            <p:cNvCxnSpPr>
              <a:cxnSpLocks/>
            </p:cNvCxnSpPr>
            <p:nvPr/>
          </p:nvCxnSpPr>
          <p:spPr>
            <a:xfrm>
              <a:off x="162348" y="79513"/>
              <a:ext cx="5526793" cy="0"/>
            </a:xfrm>
            <a:prstGeom prst="line">
              <a:avLst/>
            </a:prstGeom>
            <a:ln>
              <a:solidFill>
                <a:srgbClr val="FFC000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80" name="Rechteck 379">
            <a:extLst>
              <a:ext uri="{FF2B5EF4-FFF2-40B4-BE49-F238E27FC236}">
                <a16:creationId xmlns:a16="http://schemas.microsoft.com/office/drawing/2014/main" id="{8212806E-4D77-4DD9-8351-85A8A1395290}"/>
              </a:ext>
            </a:extLst>
          </p:cNvPr>
          <p:cNvSpPr/>
          <p:nvPr/>
        </p:nvSpPr>
        <p:spPr>
          <a:xfrm>
            <a:off x="298073" y="1030876"/>
            <a:ext cx="2265931" cy="471206"/>
          </a:xfrm>
          <a:prstGeom prst="rect">
            <a:avLst/>
          </a:prstGeom>
          <a:solidFill>
            <a:srgbClr val="8EBAE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endParaRPr lang="en-US" sz="1600" baseline="-25000" dirty="0">
              <a:solidFill>
                <a:srgbClr val="00549F"/>
              </a:solidFill>
            </a:endParaRPr>
          </a:p>
        </p:txBody>
      </p:sp>
      <p:cxnSp>
        <p:nvCxnSpPr>
          <p:cNvPr id="386" name="Gerader Verbinder 385">
            <a:extLst>
              <a:ext uri="{FF2B5EF4-FFF2-40B4-BE49-F238E27FC236}">
                <a16:creationId xmlns:a16="http://schemas.microsoft.com/office/drawing/2014/main" id="{3C49E576-F704-4975-B81F-3A3028FAA986}"/>
              </a:ext>
            </a:extLst>
          </p:cNvPr>
          <p:cNvCxnSpPr>
            <a:cxnSpLocks/>
          </p:cNvCxnSpPr>
          <p:nvPr/>
        </p:nvCxnSpPr>
        <p:spPr>
          <a:xfrm flipV="1">
            <a:off x="2209216" y="430741"/>
            <a:ext cx="2831239" cy="909148"/>
          </a:xfrm>
          <a:prstGeom prst="line">
            <a:avLst/>
          </a:prstGeom>
          <a:ln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7" name="Gerader Verbinder 386">
            <a:extLst>
              <a:ext uri="{FF2B5EF4-FFF2-40B4-BE49-F238E27FC236}">
                <a16:creationId xmlns:a16="http://schemas.microsoft.com/office/drawing/2014/main" id="{9C5F1DB5-55B4-4BBF-9E7D-35E60DCEA934}"/>
              </a:ext>
            </a:extLst>
          </p:cNvPr>
          <p:cNvCxnSpPr>
            <a:cxnSpLocks/>
          </p:cNvCxnSpPr>
          <p:nvPr/>
        </p:nvCxnSpPr>
        <p:spPr>
          <a:xfrm>
            <a:off x="2224809" y="1689995"/>
            <a:ext cx="2847121" cy="1644518"/>
          </a:xfrm>
          <a:prstGeom prst="line">
            <a:avLst/>
          </a:prstGeom>
          <a:ln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8" name="Rechteck 387">
            <a:extLst>
              <a:ext uri="{FF2B5EF4-FFF2-40B4-BE49-F238E27FC236}">
                <a16:creationId xmlns:a16="http://schemas.microsoft.com/office/drawing/2014/main" id="{2A6A82E1-5C2D-4BE6-948E-77995E88E152}"/>
              </a:ext>
            </a:extLst>
          </p:cNvPr>
          <p:cNvSpPr/>
          <p:nvPr/>
        </p:nvSpPr>
        <p:spPr>
          <a:xfrm>
            <a:off x="5033598" y="2107375"/>
            <a:ext cx="5525715" cy="236705"/>
          </a:xfrm>
          <a:prstGeom prst="rect">
            <a:avLst/>
          </a:prstGeom>
          <a:solidFill>
            <a:srgbClr val="FFC000">
              <a:alpha val="1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1653" tIns="40827" rIns="81653" bIns="4082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dirty="0">
                <a:solidFill>
                  <a:schemeClr val="bg1"/>
                </a:solidFill>
              </a:rPr>
              <a:t>?</a:t>
            </a:r>
            <a:r>
              <a:rPr lang="de-DE" dirty="0">
                <a:solidFill>
                  <a:srgbClr val="FFC000"/>
                </a:solidFill>
              </a:rPr>
              <a:t>		</a:t>
            </a:r>
            <a:r>
              <a:rPr lang="de-DE" dirty="0">
                <a:solidFill>
                  <a:schemeClr val="bg1"/>
                </a:solidFill>
              </a:rPr>
              <a:t>?</a:t>
            </a:r>
            <a:r>
              <a:rPr lang="de-DE" dirty="0">
                <a:solidFill>
                  <a:srgbClr val="FFC000"/>
                </a:solidFill>
              </a:rPr>
              <a:t>		</a:t>
            </a:r>
            <a:r>
              <a:rPr lang="de-DE" dirty="0">
                <a:solidFill>
                  <a:schemeClr val="bg1"/>
                </a:solidFill>
              </a:rPr>
              <a:t>?</a:t>
            </a:r>
            <a:r>
              <a:rPr lang="de-DE" dirty="0">
                <a:solidFill>
                  <a:srgbClr val="FFC000"/>
                </a:solidFill>
              </a:rPr>
              <a:t>	</a:t>
            </a:r>
          </a:p>
        </p:txBody>
      </p:sp>
      <p:pic>
        <p:nvPicPr>
          <p:cNvPr id="390" name="Grafik 389" descr="Lupe">
            <a:extLst>
              <a:ext uri="{FF2B5EF4-FFF2-40B4-BE49-F238E27FC236}">
                <a16:creationId xmlns:a16="http://schemas.microsoft.com/office/drawing/2014/main" id="{FF3CD46D-24AC-4F87-98F6-4E5C6B93F4C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 rot="5779642">
            <a:off x="1850270" y="1288083"/>
            <a:ext cx="606683" cy="606683"/>
          </a:xfrm>
          <a:prstGeom prst="rect">
            <a:avLst/>
          </a:prstGeom>
        </p:spPr>
      </p:pic>
      <p:sp>
        <p:nvSpPr>
          <p:cNvPr id="392" name="Textfeld 391">
            <a:extLst>
              <a:ext uri="{FF2B5EF4-FFF2-40B4-BE49-F238E27FC236}">
                <a16:creationId xmlns:a16="http://schemas.microsoft.com/office/drawing/2014/main" id="{4ADB5B03-8BB4-4E9A-88DF-5D7D8CD415E3}"/>
              </a:ext>
            </a:extLst>
          </p:cNvPr>
          <p:cNvSpPr txBox="1"/>
          <p:nvPr/>
        </p:nvSpPr>
        <p:spPr>
          <a:xfrm>
            <a:off x="1186149" y="1592663"/>
            <a:ext cx="48977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200" dirty="0">
                <a:solidFill>
                  <a:schemeClr val="bg1"/>
                </a:solidFill>
                <a:latin typeface="+mn-lt"/>
              </a:rPr>
              <a:t>PC</a:t>
            </a:r>
            <a:endParaRPr lang="de-DE" sz="16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94" name="Textfeld 393">
            <a:extLst>
              <a:ext uri="{FF2B5EF4-FFF2-40B4-BE49-F238E27FC236}">
                <a16:creationId xmlns:a16="http://schemas.microsoft.com/office/drawing/2014/main" id="{1570FCBC-324E-485A-AE7D-9455B77AE389}"/>
              </a:ext>
            </a:extLst>
          </p:cNvPr>
          <p:cNvSpPr txBox="1"/>
          <p:nvPr/>
        </p:nvSpPr>
        <p:spPr>
          <a:xfrm>
            <a:off x="324881" y="1127979"/>
            <a:ext cx="221231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(Ti,Al)(N,O)</a:t>
            </a:r>
          </a:p>
        </p:txBody>
      </p:sp>
      <p:grpSp>
        <p:nvGrpSpPr>
          <p:cNvPr id="396" name="Gruppieren 395">
            <a:extLst>
              <a:ext uri="{FF2B5EF4-FFF2-40B4-BE49-F238E27FC236}">
                <a16:creationId xmlns:a16="http://schemas.microsoft.com/office/drawing/2014/main" id="{52BA5B98-028E-4F24-8B70-BB5800A65572}"/>
              </a:ext>
            </a:extLst>
          </p:cNvPr>
          <p:cNvGrpSpPr/>
          <p:nvPr/>
        </p:nvGrpSpPr>
        <p:grpSpPr>
          <a:xfrm>
            <a:off x="4817569" y="421772"/>
            <a:ext cx="5939393" cy="1683945"/>
            <a:chOff x="4775725" y="1567515"/>
            <a:chExt cx="5939393" cy="1683945"/>
          </a:xfrm>
        </p:grpSpPr>
        <p:grpSp>
          <p:nvGrpSpPr>
            <p:cNvPr id="399" name="Gruppieren 398">
              <a:extLst>
                <a:ext uri="{FF2B5EF4-FFF2-40B4-BE49-F238E27FC236}">
                  <a16:creationId xmlns:a16="http://schemas.microsoft.com/office/drawing/2014/main" id="{30F02DDF-DA87-4504-B17D-F9DF061A6B05}"/>
                </a:ext>
              </a:extLst>
            </p:cNvPr>
            <p:cNvGrpSpPr/>
            <p:nvPr/>
          </p:nvGrpSpPr>
          <p:grpSpPr>
            <a:xfrm>
              <a:off x="4806682" y="1686797"/>
              <a:ext cx="5876953" cy="1420746"/>
              <a:chOff x="5032517" y="1289825"/>
              <a:chExt cx="5876952" cy="1420746"/>
            </a:xfrm>
          </p:grpSpPr>
          <p:cxnSp>
            <p:nvCxnSpPr>
              <p:cNvPr id="407" name="Gerader Verbinder 406">
                <a:extLst>
                  <a:ext uri="{FF2B5EF4-FFF2-40B4-BE49-F238E27FC236}">
                    <a16:creationId xmlns:a16="http://schemas.microsoft.com/office/drawing/2014/main" id="{2EB26696-9B36-4254-8B90-F19B447F62DC}"/>
                  </a:ext>
                </a:extLst>
              </p:cNvPr>
              <p:cNvCxnSpPr/>
              <p:nvPr/>
            </p:nvCxnSpPr>
            <p:spPr>
              <a:xfrm>
                <a:off x="5032518" y="1468588"/>
                <a:ext cx="5693157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8" name="Gerader Verbinder 407">
                <a:extLst>
                  <a:ext uri="{FF2B5EF4-FFF2-40B4-BE49-F238E27FC236}">
                    <a16:creationId xmlns:a16="http://schemas.microsoft.com/office/drawing/2014/main" id="{68FF901D-D6E9-4831-AE22-EDAA1130FE7B}"/>
                  </a:ext>
                </a:extLst>
              </p:cNvPr>
              <p:cNvCxnSpPr/>
              <p:nvPr/>
            </p:nvCxnSpPr>
            <p:spPr>
              <a:xfrm>
                <a:off x="5032518" y="2193278"/>
                <a:ext cx="5690825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9" name="Gerader Verbinder 408">
                <a:extLst>
                  <a:ext uri="{FF2B5EF4-FFF2-40B4-BE49-F238E27FC236}">
                    <a16:creationId xmlns:a16="http://schemas.microsoft.com/office/drawing/2014/main" id="{C386D28C-287C-4F89-A476-D2A13ADBF719}"/>
                  </a:ext>
                </a:extLst>
              </p:cNvPr>
              <p:cNvCxnSpPr/>
              <p:nvPr/>
            </p:nvCxnSpPr>
            <p:spPr>
              <a:xfrm>
                <a:off x="5230939" y="1833862"/>
                <a:ext cx="5678529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0" name="Gerader Verbinder 409">
                <a:extLst>
                  <a:ext uri="{FF2B5EF4-FFF2-40B4-BE49-F238E27FC236}">
                    <a16:creationId xmlns:a16="http://schemas.microsoft.com/office/drawing/2014/main" id="{5B77F36D-8FB3-4BCB-A026-920A68D4B4BB}"/>
                  </a:ext>
                </a:extLst>
              </p:cNvPr>
              <p:cNvCxnSpPr/>
              <p:nvPr/>
            </p:nvCxnSpPr>
            <p:spPr>
              <a:xfrm>
                <a:off x="5197057" y="2542788"/>
                <a:ext cx="5712412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11" name="Ellipse 410">
                <a:extLst>
                  <a:ext uri="{FF2B5EF4-FFF2-40B4-BE49-F238E27FC236}">
                    <a16:creationId xmlns:a16="http://schemas.microsoft.com/office/drawing/2014/main" id="{8B4C701D-A01E-4BE3-A385-F52CD1927779}"/>
                  </a:ext>
                </a:extLst>
              </p:cNvPr>
              <p:cNvSpPr/>
              <p:nvPr/>
            </p:nvSpPr>
            <p:spPr>
              <a:xfrm>
                <a:off x="5032517" y="1627118"/>
                <a:ext cx="360000" cy="360000"/>
              </a:xfrm>
              <a:prstGeom prst="ellipse">
                <a:avLst/>
              </a:prstGeom>
              <a:solidFill>
                <a:srgbClr val="8EBAE5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412" name="Ellipse 411">
                <a:extLst>
                  <a:ext uri="{FF2B5EF4-FFF2-40B4-BE49-F238E27FC236}">
                    <a16:creationId xmlns:a16="http://schemas.microsoft.com/office/drawing/2014/main" id="{4D7B6AE9-5223-4F79-B4A9-BFB64C2564AC}"/>
                  </a:ext>
                </a:extLst>
              </p:cNvPr>
              <p:cNvSpPr/>
              <p:nvPr/>
            </p:nvSpPr>
            <p:spPr>
              <a:xfrm>
                <a:off x="5678367" y="1627118"/>
                <a:ext cx="360000" cy="360000"/>
              </a:xfrm>
              <a:prstGeom prst="ellipse">
                <a:avLst/>
              </a:prstGeom>
              <a:solidFill>
                <a:srgbClr val="8EBAE5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413" name="Ellipse 412">
                <a:extLst>
                  <a:ext uri="{FF2B5EF4-FFF2-40B4-BE49-F238E27FC236}">
                    <a16:creationId xmlns:a16="http://schemas.microsoft.com/office/drawing/2014/main" id="{F66E5264-C092-4D87-8DA4-7B2AD83C7163}"/>
                  </a:ext>
                </a:extLst>
              </p:cNvPr>
              <p:cNvSpPr/>
              <p:nvPr/>
            </p:nvSpPr>
            <p:spPr>
              <a:xfrm>
                <a:off x="6324216" y="1627118"/>
                <a:ext cx="360000" cy="360000"/>
              </a:xfrm>
              <a:prstGeom prst="ellipse">
                <a:avLst/>
              </a:prstGeom>
              <a:solidFill>
                <a:srgbClr val="8EBAE5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414" name="Ellipse 413">
                <a:extLst>
                  <a:ext uri="{FF2B5EF4-FFF2-40B4-BE49-F238E27FC236}">
                    <a16:creationId xmlns:a16="http://schemas.microsoft.com/office/drawing/2014/main" id="{B00252FA-ED20-42D6-B7F4-A93A39526E88}"/>
                  </a:ext>
                </a:extLst>
              </p:cNvPr>
              <p:cNvSpPr/>
              <p:nvPr/>
            </p:nvSpPr>
            <p:spPr>
              <a:xfrm>
                <a:off x="6970065" y="1627118"/>
                <a:ext cx="360000" cy="360000"/>
              </a:xfrm>
              <a:prstGeom prst="ellipse">
                <a:avLst/>
              </a:prstGeom>
              <a:solidFill>
                <a:srgbClr val="8EBAE5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415" name="Ellipse 414">
                <a:extLst>
                  <a:ext uri="{FF2B5EF4-FFF2-40B4-BE49-F238E27FC236}">
                    <a16:creationId xmlns:a16="http://schemas.microsoft.com/office/drawing/2014/main" id="{793D75AE-3234-4765-B36B-929AF56D5A17}"/>
                  </a:ext>
                </a:extLst>
              </p:cNvPr>
              <p:cNvSpPr/>
              <p:nvPr/>
            </p:nvSpPr>
            <p:spPr>
              <a:xfrm>
                <a:off x="7615914" y="1627118"/>
                <a:ext cx="360000" cy="360000"/>
              </a:xfrm>
              <a:prstGeom prst="ellipse">
                <a:avLst/>
              </a:prstGeom>
              <a:solidFill>
                <a:srgbClr val="8EBAE5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416" name="Ellipse 415">
                <a:extLst>
                  <a:ext uri="{FF2B5EF4-FFF2-40B4-BE49-F238E27FC236}">
                    <a16:creationId xmlns:a16="http://schemas.microsoft.com/office/drawing/2014/main" id="{71701732-6B5F-4477-ADC2-E978A2102A7C}"/>
                  </a:ext>
                </a:extLst>
              </p:cNvPr>
              <p:cNvSpPr/>
              <p:nvPr/>
            </p:nvSpPr>
            <p:spPr>
              <a:xfrm>
                <a:off x="8261763" y="1627118"/>
                <a:ext cx="360000" cy="360000"/>
              </a:xfrm>
              <a:prstGeom prst="ellipse">
                <a:avLst/>
              </a:prstGeom>
              <a:solidFill>
                <a:srgbClr val="8EBAE5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417" name="Ellipse 416">
                <a:extLst>
                  <a:ext uri="{FF2B5EF4-FFF2-40B4-BE49-F238E27FC236}">
                    <a16:creationId xmlns:a16="http://schemas.microsoft.com/office/drawing/2014/main" id="{73630B2D-D0F0-47C4-B92B-12774A6860B8}"/>
                  </a:ext>
                </a:extLst>
              </p:cNvPr>
              <p:cNvSpPr/>
              <p:nvPr/>
            </p:nvSpPr>
            <p:spPr>
              <a:xfrm>
                <a:off x="8907612" y="1627118"/>
                <a:ext cx="360000" cy="360000"/>
              </a:xfrm>
              <a:prstGeom prst="ellipse">
                <a:avLst/>
              </a:prstGeom>
              <a:solidFill>
                <a:srgbClr val="8EBAE5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418" name="Ellipse 417">
                <a:extLst>
                  <a:ext uri="{FF2B5EF4-FFF2-40B4-BE49-F238E27FC236}">
                    <a16:creationId xmlns:a16="http://schemas.microsoft.com/office/drawing/2014/main" id="{35CCBD27-A1F8-4706-875C-10DA173BEC39}"/>
                  </a:ext>
                </a:extLst>
              </p:cNvPr>
              <p:cNvSpPr/>
              <p:nvPr/>
            </p:nvSpPr>
            <p:spPr>
              <a:xfrm>
                <a:off x="9553461" y="1627118"/>
                <a:ext cx="360000" cy="360000"/>
              </a:xfrm>
              <a:prstGeom prst="ellipse">
                <a:avLst/>
              </a:prstGeom>
              <a:solidFill>
                <a:srgbClr val="8EBAE5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419" name="Ellipse 418">
                <a:extLst>
                  <a:ext uri="{FF2B5EF4-FFF2-40B4-BE49-F238E27FC236}">
                    <a16:creationId xmlns:a16="http://schemas.microsoft.com/office/drawing/2014/main" id="{3CAFC81B-888A-4C5F-8431-E03376128F42}"/>
                  </a:ext>
                </a:extLst>
              </p:cNvPr>
              <p:cNvSpPr/>
              <p:nvPr/>
            </p:nvSpPr>
            <p:spPr>
              <a:xfrm>
                <a:off x="10199313" y="1627118"/>
                <a:ext cx="360000" cy="360000"/>
              </a:xfrm>
              <a:prstGeom prst="ellipse">
                <a:avLst/>
              </a:prstGeom>
              <a:solidFill>
                <a:srgbClr val="8EBAE5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420" name="Ellipse 419">
                <a:extLst>
                  <a:ext uri="{FF2B5EF4-FFF2-40B4-BE49-F238E27FC236}">
                    <a16:creationId xmlns:a16="http://schemas.microsoft.com/office/drawing/2014/main" id="{8BE80B58-D980-4805-83EC-EADECAB51B6C}"/>
                  </a:ext>
                </a:extLst>
              </p:cNvPr>
              <p:cNvSpPr/>
              <p:nvPr/>
            </p:nvSpPr>
            <p:spPr>
              <a:xfrm>
                <a:off x="5032517" y="2350571"/>
                <a:ext cx="360000" cy="360000"/>
              </a:xfrm>
              <a:prstGeom prst="ellipse">
                <a:avLst/>
              </a:prstGeom>
              <a:solidFill>
                <a:srgbClr val="8EBAE5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421" name="Ellipse 420">
                <a:extLst>
                  <a:ext uri="{FF2B5EF4-FFF2-40B4-BE49-F238E27FC236}">
                    <a16:creationId xmlns:a16="http://schemas.microsoft.com/office/drawing/2014/main" id="{E88929CE-BF1F-4246-BA7D-D758FEA082D5}"/>
                  </a:ext>
                </a:extLst>
              </p:cNvPr>
              <p:cNvSpPr/>
              <p:nvPr/>
            </p:nvSpPr>
            <p:spPr>
              <a:xfrm>
                <a:off x="5678367" y="2350571"/>
                <a:ext cx="360000" cy="360000"/>
              </a:xfrm>
              <a:prstGeom prst="ellipse">
                <a:avLst/>
              </a:prstGeom>
              <a:solidFill>
                <a:srgbClr val="8EBAE5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422" name="Ellipse 421">
                <a:extLst>
                  <a:ext uri="{FF2B5EF4-FFF2-40B4-BE49-F238E27FC236}">
                    <a16:creationId xmlns:a16="http://schemas.microsoft.com/office/drawing/2014/main" id="{926B7882-66EE-4723-9A72-03AA78775081}"/>
                  </a:ext>
                </a:extLst>
              </p:cNvPr>
              <p:cNvSpPr/>
              <p:nvPr/>
            </p:nvSpPr>
            <p:spPr>
              <a:xfrm>
                <a:off x="6324216" y="2350571"/>
                <a:ext cx="360000" cy="360000"/>
              </a:xfrm>
              <a:prstGeom prst="ellipse">
                <a:avLst/>
              </a:prstGeom>
              <a:solidFill>
                <a:srgbClr val="8EBAE5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423" name="Ellipse 422">
                <a:extLst>
                  <a:ext uri="{FF2B5EF4-FFF2-40B4-BE49-F238E27FC236}">
                    <a16:creationId xmlns:a16="http://schemas.microsoft.com/office/drawing/2014/main" id="{5C6965EF-3096-4C3A-A9BE-4BDC1CC49899}"/>
                  </a:ext>
                </a:extLst>
              </p:cNvPr>
              <p:cNvSpPr/>
              <p:nvPr/>
            </p:nvSpPr>
            <p:spPr>
              <a:xfrm>
                <a:off x="6970065" y="2350571"/>
                <a:ext cx="360000" cy="360000"/>
              </a:xfrm>
              <a:prstGeom prst="ellipse">
                <a:avLst/>
              </a:prstGeom>
              <a:solidFill>
                <a:srgbClr val="8EBAE5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424" name="Ellipse 423">
                <a:extLst>
                  <a:ext uri="{FF2B5EF4-FFF2-40B4-BE49-F238E27FC236}">
                    <a16:creationId xmlns:a16="http://schemas.microsoft.com/office/drawing/2014/main" id="{DD8561B3-299D-45C4-AA45-24DF7FE56E16}"/>
                  </a:ext>
                </a:extLst>
              </p:cNvPr>
              <p:cNvSpPr/>
              <p:nvPr/>
            </p:nvSpPr>
            <p:spPr>
              <a:xfrm>
                <a:off x="7615914" y="2350571"/>
                <a:ext cx="360000" cy="360000"/>
              </a:xfrm>
              <a:prstGeom prst="ellipse">
                <a:avLst/>
              </a:prstGeom>
              <a:solidFill>
                <a:srgbClr val="8EBAE5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425" name="Ellipse 424">
                <a:extLst>
                  <a:ext uri="{FF2B5EF4-FFF2-40B4-BE49-F238E27FC236}">
                    <a16:creationId xmlns:a16="http://schemas.microsoft.com/office/drawing/2014/main" id="{800EEAAE-99A8-45D3-B082-A31B62A22E48}"/>
                  </a:ext>
                </a:extLst>
              </p:cNvPr>
              <p:cNvSpPr/>
              <p:nvPr/>
            </p:nvSpPr>
            <p:spPr>
              <a:xfrm>
                <a:off x="8261763" y="2350571"/>
                <a:ext cx="360000" cy="360000"/>
              </a:xfrm>
              <a:prstGeom prst="ellipse">
                <a:avLst/>
              </a:prstGeom>
              <a:solidFill>
                <a:srgbClr val="8EBAE5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426" name="Ellipse 425">
                <a:extLst>
                  <a:ext uri="{FF2B5EF4-FFF2-40B4-BE49-F238E27FC236}">
                    <a16:creationId xmlns:a16="http://schemas.microsoft.com/office/drawing/2014/main" id="{D601F47B-7222-4083-B8AB-102C079A302A}"/>
                  </a:ext>
                </a:extLst>
              </p:cNvPr>
              <p:cNvSpPr/>
              <p:nvPr/>
            </p:nvSpPr>
            <p:spPr>
              <a:xfrm>
                <a:off x="8907612" y="2350571"/>
                <a:ext cx="360000" cy="360000"/>
              </a:xfrm>
              <a:prstGeom prst="ellipse">
                <a:avLst/>
              </a:prstGeom>
              <a:solidFill>
                <a:srgbClr val="8EBAE5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427" name="Ellipse 426">
                <a:extLst>
                  <a:ext uri="{FF2B5EF4-FFF2-40B4-BE49-F238E27FC236}">
                    <a16:creationId xmlns:a16="http://schemas.microsoft.com/office/drawing/2014/main" id="{D8148CDF-436C-4289-8EC1-FB8E072EB371}"/>
                  </a:ext>
                </a:extLst>
              </p:cNvPr>
              <p:cNvSpPr/>
              <p:nvPr/>
            </p:nvSpPr>
            <p:spPr>
              <a:xfrm>
                <a:off x="9553461" y="2350571"/>
                <a:ext cx="360000" cy="360000"/>
              </a:xfrm>
              <a:prstGeom prst="ellipse">
                <a:avLst/>
              </a:prstGeom>
              <a:solidFill>
                <a:srgbClr val="8EBAE5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428" name="Ellipse 427">
                <a:extLst>
                  <a:ext uri="{FF2B5EF4-FFF2-40B4-BE49-F238E27FC236}">
                    <a16:creationId xmlns:a16="http://schemas.microsoft.com/office/drawing/2014/main" id="{FFD74001-0E3A-4DCB-9C72-B2B6617B9830}"/>
                  </a:ext>
                </a:extLst>
              </p:cNvPr>
              <p:cNvSpPr/>
              <p:nvPr/>
            </p:nvSpPr>
            <p:spPr>
              <a:xfrm>
                <a:off x="10199313" y="2350571"/>
                <a:ext cx="360000" cy="360000"/>
              </a:xfrm>
              <a:prstGeom prst="ellipse">
                <a:avLst/>
              </a:prstGeom>
              <a:solidFill>
                <a:srgbClr val="8EBAE5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grpSp>
            <p:nvGrpSpPr>
              <p:cNvPr id="429" name="Gruppieren 428">
                <a:extLst>
                  <a:ext uri="{FF2B5EF4-FFF2-40B4-BE49-F238E27FC236}">
                    <a16:creationId xmlns:a16="http://schemas.microsoft.com/office/drawing/2014/main" id="{F5B1F376-F292-479E-8674-6C0FC69E7D32}"/>
                  </a:ext>
                </a:extLst>
              </p:cNvPr>
              <p:cNvGrpSpPr/>
              <p:nvPr/>
            </p:nvGrpSpPr>
            <p:grpSpPr>
              <a:xfrm>
                <a:off x="5382673" y="1289825"/>
                <a:ext cx="5526796" cy="1083453"/>
                <a:chOff x="5184917" y="1779518"/>
                <a:chExt cx="5526796" cy="1083453"/>
              </a:xfrm>
            </p:grpSpPr>
            <p:sp>
              <p:nvSpPr>
                <p:cNvPr id="475" name="Ellipse 474">
                  <a:extLst>
                    <a:ext uri="{FF2B5EF4-FFF2-40B4-BE49-F238E27FC236}">
                      <a16:creationId xmlns:a16="http://schemas.microsoft.com/office/drawing/2014/main" id="{578F16B0-D070-4361-BC98-CEB0626EE1C5}"/>
                    </a:ext>
                  </a:extLst>
                </p:cNvPr>
                <p:cNvSpPr/>
                <p:nvPr/>
              </p:nvSpPr>
              <p:spPr>
                <a:xfrm>
                  <a:off x="5184917" y="1779518"/>
                  <a:ext cx="360000" cy="360000"/>
                </a:xfrm>
                <a:prstGeom prst="ellipse">
                  <a:avLst/>
                </a:prstGeom>
                <a:solidFill>
                  <a:srgbClr val="8EBAE5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476" name="Ellipse 475">
                  <a:extLst>
                    <a:ext uri="{FF2B5EF4-FFF2-40B4-BE49-F238E27FC236}">
                      <a16:creationId xmlns:a16="http://schemas.microsoft.com/office/drawing/2014/main" id="{B330F5E7-766D-462D-A402-9E655827FBF5}"/>
                    </a:ext>
                  </a:extLst>
                </p:cNvPr>
                <p:cNvSpPr/>
                <p:nvPr/>
              </p:nvSpPr>
              <p:spPr>
                <a:xfrm>
                  <a:off x="5830767" y="1779518"/>
                  <a:ext cx="360000" cy="360000"/>
                </a:xfrm>
                <a:prstGeom prst="ellipse">
                  <a:avLst/>
                </a:prstGeom>
                <a:solidFill>
                  <a:srgbClr val="8EBAE5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477" name="Ellipse 476">
                  <a:extLst>
                    <a:ext uri="{FF2B5EF4-FFF2-40B4-BE49-F238E27FC236}">
                      <a16:creationId xmlns:a16="http://schemas.microsoft.com/office/drawing/2014/main" id="{42CFB3F7-A7DF-4E1C-B20C-559C0CD3118D}"/>
                    </a:ext>
                  </a:extLst>
                </p:cNvPr>
                <p:cNvSpPr/>
                <p:nvPr/>
              </p:nvSpPr>
              <p:spPr>
                <a:xfrm>
                  <a:off x="6476616" y="1779518"/>
                  <a:ext cx="360000" cy="360000"/>
                </a:xfrm>
                <a:prstGeom prst="ellipse">
                  <a:avLst/>
                </a:prstGeom>
                <a:solidFill>
                  <a:srgbClr val="8EBAE5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478" name="Ellipse 477">
                  <a:extLst>
                    <a:ext uri="{FF2B5EF4-FFF2-40B4-BE49-F238E27FC236}">
                      <a16:creationId xmlns:a16="http://schemas.microsoft.com/office/drawing/2014/main" id="{3C11F224-88E2-4F48-943B-21827269E71D}"/>
                    </a:ext>
                  </a:extLst>
                </p:cNvPr>
                <p:cNvSpPr/>
                <p:nvPr/>
              </p:nvSpPr>
              <p:spPr>
                <a:xfrm>
                  <a:off x="7122465" y="1779518"/>
                  <a:ext cx="360000" cy="360000"/>
                </a:xfrm>
                <a:prstGeom prst="ellipse">
                  <a:avLst/>
                </a:prstGeom>
                <a:solidFill>
                  <a:srgbClr val="8EBAE5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479" name="Ellipse 478">
                  <a:extLst>
                    <a:ext uri="{FF2B5EF4-FFF2-40B4-BE49-F238E27FC236}">
                      <a16:creationId xmlns:a16="http://schemas.microsoft.com/office/drawing/2014/main" id="{8C65EFC6-B8F8-4F3F-8294-EFD640DD335D}"/>
                    </a:ext>
                  </a:extLst>
                </p:cNvPr>
                <p:cNvSpPr/>
                <p:nvPr/>
              </p:nvSpPr>
              <p:spPr>
                <a:xfrm>
                  <a:off x="7768314" y="1779518"/>
                  <a:ext cx="360000" cy="360000"/>
                </a:xfrm>
                <a:prstGeom prst="ellipse">
                  <a:avLst/>
                </a:prstGeom>
                <a:solidFill>
                  <a:srgbClr val="8EBAE5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480" name="Ellipse 479">
                  <a:extLst>
                    <a:ext uri="{FF2B5EF4-FFF2-40B4-BE49-F238E27FC236}">
                      <a16:creationId xmlns:a16="http://schemas.microsoft.com/office/drawing/2014/main" id="{136137C6-75A8-47D4-AC34-D4621E3BE479}"/>
                    </a:ext>
                  </a:extLst>
                </p:cNvPr>
                <p:cNvSpPr/>
                <p:nvPr/>
              </p:nvSpPr>
              <p:spPr>
                <a:xfrm>
                  <a:off x="8414163" y="1779518"/>
                  <a:ext cx="360000" cy="360000"/>
                </a:xfrm>
                <a:prstGeom prst="ellipse">
                  <a:avLst/>
                </a:prstGeom>
                <a:solidFill>
                  <a:srgbClr val="8EBAE5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481" name="Ellipse 480">
                  <a:extLst>
                    <a:ext uri="{FF2B5EF4-FFF2-40B4-BE49-F238E27FC236}">
                      <a16:creationId xmlns:a16="http://schemas.microsoft.com/office/drawing/2014/main" id="{8E1E2D9F-EBFB-4300-972E-A14ECB9DF5CB}"/>
                    </a:ext>
                  </a:extLst>
                </p:cNvPr>
                <p:cNvSpPr/>
                <p:nvPr/>
              </p:nvSpPr>
              <p:spPr>
                <a:xfrm>
                  <a:off x="9060012" y="1779518"/>
                  <a:ext cx="360000" cy="360000"/>
                </a:xfrm>
                <a:prstGeom prst="ellipse">
                  <a:avLst/>
                </a:prstGeom>
                <a:solidFill>
                  <a:srgbClr val="8EBAE5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482" name="Ellipse 481">
                  <a:extLst>
                    <a:ext uri="{FF2B5EF4-FFF2-40B4-BE49-F238E27FC236}">
                      <a16:creationId xmlns:a16="http://schemas.microsoft.com/office/drawing/2014/main" id="{2775683C-6DC1-43EA-8C07-C80B1B1ACAA0}"/>
                    </a:ext>
                  </a:extLst>
                </p:cNvPr>
                <p:cNvSpPr/>
                <p:nvPr/>
              </p:nvSpPr>
              <p:spPr>
                <a:xfrm>
                  <a:off x="9705861" y="1779518"/>
                  <a:ext cx="360000" cy="360000"/>
                </a:xfrm>
                <a:prstGeom prst="ellipse">
                  <a:avLst/>
                </a:prstGeom>
                <a:solidFill>
                  <a:srgbClr val="8EBAE5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483" name="Ellipse 482">
                  <a:extLst>
                    <a:ext uri="{FF2B5EF4-FFF2-40B4-BE49-F238E27FC236}">
                      <a16:creationId xmlns:a16="http://schemas.microsoft.com/office/drawing/2014/main" id="{DE82C2E8-1E57-4328-A69C-72A0EC731AD6}"/>
                    </a:ext>
                  </a:extLst>
                </p:cNvPr>
                <p:cNvSpPr/>
                <p:nvPr/>
              </p:nvSpPr>
              <p:spPr>
                <a:xfrm>
                  <a:off x="10351713" y="1779518"/>
                  <a:ext cx="360000" cy="360000"/>
                </a:xfrm>
                <a:prstGeom prst="ellipse">
                  <a:avLst/>
                </a:prstGeom>
                <a:solidFill>
                  <a:srgbClr val="8EBAE5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484" name="Ellipse 483">
                  <a:extLst>
                    <a:ext uri="{FF2B5EF4-FFF2-40B4-BE49-F238E27FC236}">
                      <a16:creationId xmlns:a16="http://schemas.microsoft.com/office/drawing/2014/main" id="{AE3C10E5-2350-4154-B6DC-752746930509}"/>
                    </a:ext>
                  </a:extLst>
                </p:cNvPr>
                <p:cNvSpPr/>
                <p:nvPr/>
              </p:nvSpPr>
              <p:spPr>
                <a:xfrm>
                  <a:off x="5184917" y="2502971"/>
                  <a:ext cx="360000" cy="360000"/>
                </a:xfrm>
                <a:prstGeom prst="ellipse">
                  <a:avLst/>
                </a:prstGeom>
                <a:solidFill>
                  <a:srgbClr val="8EBAE5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485" name="Ellipse 484">
                  <a:extLst>
                    <a:ext uri="{FF2B5EF4-FFF2-40B4-BE49-F238E27FC236}">
                      <a16:creationId xmlns:a16="http://schemas.microsoft.com/office/drawing/2014/main" id="{CE5BEC51-B82E-4E07-AE98-916751D4092D}"/>
                    </a:ext>
                  </a:extLst>
                </p:cNvPr>
                <p:cNvSpPr/>
                <p:nvPr/>
              </p:nvSpPr>
              <p:spPr>
                <a:xfrm>
                  <a:off x="5830767" y="2502971"/>
                  <a:ext cx="360000" cy="360000"/>
                </a:xfrm>
                <a:prstGeom prst="ellipse">
                  <a:avLst/>
                </a:prstGeom>
                <a:solidFill>
                  <a:srgbClr val="8EBAE5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486" name="Ellipse 485">
                  <a:extLst>
                    <a:ext uri="{FF2B5EF4-FFF2-40B4-BE49-F238E27FC236}">
                      <a16:creationId xmlns:a16="http://schemas.microsoft.com/office/drawing/2014/main" id="{F68553D3-E38A-48AB-965E-A89290B79F28}"/>
                    </a:ext>
                  </a:extLst>
                </p:cNvPr>
                <p:cNvSpPr/>
                <p:nvPr/>
              </p:nvSpPr>
              <p:spPr>
                <a:xfrm>
                  <a:off x="6476616" y="2502971"/>
                  <a:ext cx="360000" cy="360000"/>
                </a:xfrm>
                <a:prstGeom prst="ellipse">
                  <a:avLst/>
                </a:prstGeom>
                <a:solidFill>
                  <a:srgbClr val="8EBAE5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487" name="Ellipse 486">
                  <a:extLst>
                    <a:ext uri="{FF2B5EF4-FFF2-40B4-BE49-F238E27FC236}">
                      <a16:creationId xmlns:a16="http://schemas.microsoft.com/office/drawing/2014/main" id="{7B5448D8-EDDD-4E7A-9351-F9D119FB94A3}"/>
                    </a:ext>
                  </a:extLst>
                </p:cNvPr>
                <p:cNvSpPr/>
                <p:nvPr/>
              </p:nvSpPr>
              <p:spPr>
                <a:xfrm>
                  <a:off x="7122465" y="2502971"/>
                  <a:ext cx="360000" cy="360000"/>
                </a:xfrm>
                <a:prstGeom prst="ellipse">
                  <a:avLst/>
                </a:prstGeom>
                <a:solidFill>
                  <a:srgbClr val="8EBAE5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488" name="Ellipse 487">
                  <a:extLst>
                    <a:ext uri="{FF2B5EF4-FFF2-40B4-BE49-F238E27FC236}">
                      <a16:creationId xmlns:a16="http://schemas.microsoft.com/office/drawing/2014/main" id="{0D2132FC-244E-4825-98AC-455083E49552}"/>
                    </a:ext>
                  </a:extLst>
                </p:cNvPr>
                <p:cNvSpPr/>
                <p:nvPr/>
              </p:nvSpPr>
              <p:spPr>
                <a:xfrm>
                  <a:off x="7768314" y="2502971"/>
                  <a:ext cx="360000" cy="360000"/>
                </a:xfrm>
                <a:prstGeom prst="ellipse">
                  <a:avLst/>
                </a:prstGeom>
                <a:solidFill>
                  <a:srgbClr val="8EBAE5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489" name="Ellipse 488">
                  <a:extLst>
                    <a:ext uri="{FF2B5EF4-FFF2-40B4-BE49-F238E27FC236}">
                      <a16:creationId xmlns:a16="http://schemas.microsoft.com/office/drawing/2014/main" id="{F9E7722B-6DF4-4833-B315-AA7B0ABFDA0F}"/>
                    </a:ext>
                  </a:extLst>
                </p:cNvPr>
                <p:cNvSpPr/>
                <p:nvPr/>
              </p:nvSpPr>
              <p:spPr>
                <a:xfrm>
                  <a:off x="8414163" y="2502971"/>
                  <a:ext cx="360000" cy="360000"/>
                </a:xfrm>
                <a:prstGeom prst="ellipse">
                  <a:avLst/>
                </a:prstGeom>
                <a:solidFill>
                  <a:srgbClr val="8EBAE5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490" name="Ellipse 489">
                  <a:extLst>
                    <a:ext uri="{FF2B5EF4-FFF2-40B4-BE49-F238E27FC236}">
                      <a16:creationId xmlns:a16="http://schemas.microsoft.com/office/drawing/2014/main" id="{BF85A71C-BCA5-41F9-A3E5-B1A245FEA80B}"/>
                    </a:ext>
                  </a:extLst>
                </p:cNvPr>
                <p:cNvSpPr/>
                <p:nvPr/>
              </p:nvSpPr>
              <p:spPr>
                <a:xfrm>
                  <a:off x="9060012" y="2502971"/>
                  <a:ext cx="360000" cy="360000"/>
                </a:xfrm>
                <a:prstGeom prst="ellipse">
                  <a:avLst/>
                </a:prstGeom>
                <a:solidFill>
                  <a:srgbClr val="8EBAE5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491" name="Ellipse 490">
                  <a:extLst>
                    <a:ext uri="{FF2B5EF4-FFF2-40B4-BE49-F238E27FC236}">
                      <a16:creationId xmlns:a16="http://schemas.microsoft.com/office/drawing/2014/main" id="{AEE96829-1665-49B3-8C12-00FA42D7251B}"/>
                    </a:ext>
                  </a:extLst>
                </p:cNvPr>
                <p:cNvSpPr/>
                <p:nvPr/>
              </p:nvSpPr>
              <p:spPr>
                <a:xfrm>
                  <a:off x="9705861" y="2502971"/>
                  <a:ext cx="360000" cy="360000"/>
                </a:xfrm>
                <a:prstGeom prst="ellipse">
                  <a:avLst/>
                </a:prstGeom>
                <a:solidFill>
                  <a:srgbClr val="8EBAE5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492" name="Ellipse 491">
                  <a:extLst>
                    <a:ext uri="{FF2B5EF4-FFF2-40B4-BE49-F238E27FC236}">
                      <a16:creationId xmlns:a16="http://schemas.microsoft.com/office/drawing/2014/main" id="{EF368D71-F8DF-4652-A412-1E93D796A0BC}"/>
                    </a:ext>
                  </a:extLst>
                </p:cNvPr>
                <p:cNvSpPr/>
                <p:nvPr/>
              </p:nvSpPr>
              <p:spPr>
                <a:xfrm>
                  <a:off x="10351713" y="2502971"/>
                  <a:ext cx="360000" cy="360000"/>
                </a:xfrm>
                <a:prstGeom prst="ellipse">
                  <a:avLst/>
                </a:prstGeom>
                <a:solidFill>
                  <a:srgbClr val="8EBAE5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</p:grpSp>
          <p:cxnSp>
            <p:nvCxnSpPr>
              <p:cNvPr id="430" name="Gerader Verbinder 429">
                <a:extLst>
                  <a:ext uri="{FF2B5EF4-FFF2-40B4-BE49-F238E27FC236}">
                    <a16:creationId xmlns:a16="http://schemas.microsoft.com/office/drawing/2014/main" id="{60E43650-22B3-4C0A-A9D8-65AD0D4B7A1E}"/>
                  </a:ext>
                </a:extLst>
              </p:cNvPr>
              <p:cNvCxnSpPr>
                <a:stCxn id="411" idx="4"/>
                <a:endCxn id="411" idx="4"/>
              </p:cNvCxnSpPr>
              <p:nvPr/>
            </p:nvCxnSpPr>
            <p:spPr>
              <a:xfrm>
                <a:off x="5212517" y="1987118"/>
                <a:ext cx="0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1" name="Gerader Verbinder 430">
                <a:extLst>
                  <a:ext uri="{FF2B5EF4-FFF2-40B4-BE49-F238E27FC236}">
                    <a16:creationId xmlns:a16="http://schemas.microsoft.com/office/drawing/2014/main" id="{34C15977-A853-49F3-9612-591941ADE335}"/>
                  </a:ext>
                </a:extLst>
              </p:cNvPr>
              <p:cNvCxnSpPr>
                <a:stCxn id="411" idx="4"/>
                <a:endCxn id="420" idx="0"/>
              </p:cNvCxnSpPr>
              <p:nvPr/>
            </p:nvCxnSpPr>
            <p:spPr>
              <a:xfrm>
                <a:off x="5212517" y="1987118"/>
                <a:ext cx="0" cy="363453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2" name="Gerader Verbinder 431">
                <a:extLst>
                  <a:ext uri="{FF2B5EF4-FFF2-40B4-BE49-F238E27FC236}">
                    <a16:creationId xmlns:a16="http://schemas.microsoft.com/office/drawing/2014/main" id="{1D13A92D-CD8A-4924-B144-9D6D760FAF10}"/>
                  </a:ext>
                </a:extLst>
              </p:cNvPr>
              <p:cNvCxnSpPr/>
              <p:nvPr/>
            </p:nvCxnSpPr>
            <p:spPr>
              <a:xfrm>
                <a:off x="5855219" y="1987118"/>
                <a:ext cx="0" cy="363453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3" name="Gerader Verbinder 432">
                <a:extLst>
                  <a:ext uri="{FF2B5EF4-FFF2-40B4-BE49-F238E27FC236}">
                    <a16:creationId xmlns:a16="http://schemas.microsoft.com/office/drawing/2014/main" id="{767EAC28-E2FD-4509-ABE8-BB6D3EF1D2D9}"/>
                  </a:ext>
                </a:extLst>
              </p:cNvPr>
              <p:cNvCxnSpPr/>
              <p:nvPr/>
            </p:nvCxnSpPr>
            <p:spPr>
              <a:xfrm>
                <a:off x="6513381" y="1987118"/>
                <a:ext cx="0" cy="363453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4" name="Gerader Verbinder 433">
                <a:extLst>
                  <a:ext uri="{FF2B5EF4-FFF2-40B4-BE49-F238E27FC236}">
                    <a16:creationId xmlns:a16="http://schemas.microsoft.com/office/drawing/2014/main" id="{BA9C1584-34EB-463B-B395-F52E86EFD0E6}"/>
                  </a:ext>
                </a:extLst>
              </p:cNvPr>
              <p:cNvCxnSpPr/>
              <p:nvPr/>
            </p:nvCxnSpPr>
            <p:spPr>
              <a:xfrm>
                <a:off x="7150065" y="1987118"/>
                <a:ext cx="0" cy="363453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5" name="Gerader Verbinder 434">
                <a:extLst>
                  <a:ext uri="{FF2B5EF4-FFF2-40B4-BE49-F238E27FC236}">
                    <a16:creationId xmlns:a16="http://schemas.microsoft.com/office/drawing/2014/main" id="{E912B709-50B9-4D98-83A6-1211D48B8FD3}"/>
                  </a:ext>
                </a:extLst>
              </p:cNvPr>
              <p:cNvCxnSpPr/>
              <p:nvPr/>
            </p:nvCxnSpPr>
            <p:spPr>
              <a:xfrm>
                <a:off x="7797101" y="1987118"/>
                <a:ext cx="0" cy="363453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6" name="Gerader Verbinder 435">
                <a:extLst>
                  <a:ext uri="{FF2B5EF4-FFF2-40B4-BE49-F238E27FC236}">
                    <a16:creationId xmlns:a16="http://schemas.microsoft.com/office/drawing/2014/main" id="{345EDC57-E798-4676-93D0-8ECD12339884}"/>
                  </a:ext>
                </a:extLst>
              </p:cNvPr>
              <p:cNvCxnSpPr/>
              <p:nvPr/>
            </p:nvCxnSpPr>
            <p:spPr>
              <a:xfrm>
                <a:off x="8449868" y="1987118"/>
                <a:ext cx="0" cy="363453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7" name="Gerader Verbinder 436">
                <a:extLst>
                  <a:ext uri="{FF2B5EF4-FFF2-40B4-BE49-F238E27FC236}">
                    <a16:creationId xmlns:a16="http://schemas.microsoft.com/office/drawing/2014/main" id="{0DDD8895-B51A-4640-B362-DA14673999A0}"/>
                  </a:ext>
                </a:extLst>
              </p:cNvPr>
              <p:cNvCxnSpPr/>
              <p:nvPr/>
            </p:nvCxnSpPr>
            <p:spPr>
              <a:xfrm>
                <a:off x="9087612" y="1987118"/>
                <a:ext cx="0" cy="363453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8" name="Gerader Verbinder 437">
                <a:extLst>
                  <a:ext uri="{FF2B5EF4-FFF2-40B4-BE49-F238E27FC236}">
                    <a16:creationId xmlns:a16="http://schemas.microsoft.com/office/drawing/2014/main" id="{6B278484-4977-4E3F-810A-925308185C42}"/>
                  </a:ext>
                </a:extLst>
              </p:cNvPr>
              <p:cNvCxnSpPr/>
              <p:nvPr/>
            </p:nvCxnSpPr>
            <p:spPr>
              <a:xfrm>
                <a:off x="9733461" y="1987118"/>
                <a:ext cx="0" cy="363453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9" name="Gerader Verbinder 438">
                <a:extLst>
                  <a:ext uri="{FF2B5EF4-FFF2-40B4-BE49-F238E27FC236}">
                    <a16:creationId xmlns:a16="http://schemas.microsoft.com/office/drawing/2014/main" id="{0679BA41-C78F-4024-9399-1D038B830B30}"/>
                  </a:ext>
                </a:extLst>
              </p:cNvPr>
              <p:cNvCxnSpPr/>
              <p:nvPr/>
            </p:nvCxnSpPr>
            <p:spPr>
              <a:xfrm>
                <a:off x="10379313" y="1987118"/>
                <a:ext cx="0" cy="363453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440" name="Gruppieren 439">
                <a:extLst>
                  <a:ext uri="{FF2B5EF4-FFF2-40B4-BE49-F238E27FC236}">
                    <a16:creationId xmlns:a16="http://schemas.microsoft.com/office/drawing/2014/main" id="{48344A3D-3936-4F24-9A63-2EFFD9E9EDD0}"/>
                  </a:ext>
                </a:extLst>
              </p:cNvPr>
              <p:cNvGrpSpPr/>
              <p:nvPr/>
            </p:nvGrpSpPr>
            <p:grpSpPr>
              <a:xfrm>
                <a:off x="5556547" y="1652136"/>
                <a:ext cx="5166796" cy="363453"/>
                <a:chOff x="5212517" y="1552551"/>
                <a:chExt cx="5166796" cy="363453"/>
              </a:xfrm>
            </p:grpSpPr>
            <p:cxnSp>
              <p:nvCxnSpPr>
                <p:cNvPr id="466" name="Gerader Verbinder 465">
                  <a:extLst>
                    <a:ext uri="{FF2B5EF4-FFF2-40B4-BE49-F238E27FC236}">
                      <a16:creationId xmlns:a16="http://schemas.microsoft.com/office/drawing/2014/main" id="{6202BCF9-061C-4134-A3FD-2818585AF16D}"/>
                    </a:ext>
                  </a:extLst>
                </p:cNvPr>
                <p:cNvCxnSpPr/>
                <p:nvPr/>
              </p:nvCxnSpPr>
              <p:spPr>
                <a:xfrm>
                  <a:off x="5212517" y="1552551"/>
                  <a:ext cx="0" cy="363453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67" name="Gerader Verbinder 466">
                  <a:extLst>
                    <a:ext uri="{FF2B5EF4-FFF2-40B4-BE49-F238E27FC236}">
                      <a16:creationId xmlns:a16="http://schemas.microsoft.com/office/drawing/2014/main" id="{56DAF317-083F-4536-A345-3BD46BDD26E2}"/>
                    </a:ext>
                  </a:extLst>
                </p:cNvPr>
                <p:cNvCxnSpPr/>
                <p:nvPr/>
              </p:nvCxnSpPr>
              <p:spPr>
                <a:xfrm>
                  <a:off x="5855219" y="1552551"/>
                  <a:ext cx="0" cy="363453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68" name="Gerader Verbinder 467">
                  <a:extLst>
                    <a:ext uri="{FF2B5EF4-FFF2-40B4-BE49-F238E27FC236}">
                      <a16:creationId xmlns:a16="http://schemas.microsoft.com/office/drawing/2014/main" id="{CB750E93-8BF6-4157-82AF-71C6A0595D70}"/>
                    </a:ext>
                  </a:extLst>
                </p:cNvPr>
                <p:cNvCxnSpPr/>
                <p:nvPr/>
              </p:nvCxnSpPr>
              <p:spPr>
                <a:xfrm>
                  <a:off x="6513381" y="1552551"/>
                  <a:ext cx="0" cy="363453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69" name="Gerader Verbinder 468">
                  <a:extLst>
                    <a:ext uri="{FF2B5EF4-FFF2-40B4-BE49-F238E27FC236}">
                      <a16:creationId xmlns:a16="http://schemas.microsoft.com/office/drawing/2014/main" id="{7747F1BA-3507-4F58-8713-E5CC07D9A781}"/>
                    </a:ext>
                  </a:extLst>
                </p:cNvPr>
                <p:cNvCxnSpPr/>
                <p:nvPr/>
              </p:nvCxnSpPr>
              <p:spPr>
                <a:xfrm>
                  <a:off x="7150065" y="1552551"/>
                  <a:ext cx="0" cy="363453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70" name="Gerader Verbinder 469">
                  <a:extLst>
                    <a:ext uri="{FF2B5EF4-FFF2-40B4-BE49-F238E27FC236}">
                      <a16:creationId xmlns:a16="http://schemas.microsoft.com/office/drawing/2014/main" id="{D2A45FCA-70F9-4C1D-8E31-1A03E8D2761F}"/>
                    </a:ext>
                  </a:extLst>
                </p:cNvPr>
                <p:cNvCxnSpPr/>
                <p:nvPr/>
              </p:nvCxnSpPr>
              <p:spPr>
                <a:xfrm>
                  <a:off x="7797101" y="1552551"/>
                  <a:ext cx="0" cy="363453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71" name="Gerader Verbinder 470">
                  <a:extLst>
                    <a:ext uri="{FF2B5EF4-FFF2-40B4-BE49-F238E27FC236}">
                      <a16:creationId xmlns:a16="http://schemas.microsoft.com/office/drawing/2014/main" id="{5B59D199-85BB-4DBA-917B-99EA7A8EA624}"/>
                    </a:ext>
                  </a:extLst>
                </p:cNvPr>
                <p:cNvCxnSpPr/>
                <p:nvPr/>
              </p:nvCxnSpPr>
              <p:spPr>
                <a:xfrm>
                  <a:off x="8449868" y="1552551"/>
                  <a:ext cx="0" cy="363453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72" name="Gerader Verbinder 471">
                  <a:extLst>
                    <a:ext uri="{FF2B5EF4-FFF2-40B4-BE49-F238E27FC236}">
                      <a16:creationId xmlns:a16="http://schemas.microsoft.com/office/drawing/2014/main" id="{456663BA-9100-406D-B492-B5A1A5C7F698}"/>
                    </a:ext>
                  </a:extLst>
                </p:cNvPr>
                <p:cNvCxnSpPr/>
                <p:nvPr/>
              </p:nvCxnSpPr>
              <p:spPr>
                <a:xfrm>
                  <a:off x="9087612" y="1552551"/>
                  <a:ext cx="0" cy="363453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73" name="Gerader Verbinder 472">
                  <a:extLst>
                    <a:ext uri="{FF2B5EF4-FFF2-40B4-BE49-F238E27FC236}">
                      <a16:creationId xmlns:a16="http://schemas.microsoft.com/office/drawing/2014/main" id="{7E5D33E3-0519-4E8E-87C8-DD10A55B6ECC}"/>
                    </a:ext>
                  </a:extLst>
                </p:cNvPr>
                <p:cNvCxnSpPr/>
                <p:nvPr/>
              </p:nvCxnSpPr>
              <p:spPr>
                <a:xfrm>
                  <a:off x="9733461" y="1552551"/>
                  <a:ext cx="0" cy="363453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74" name="Gerader Verbinder 473">
                  <a:extLst>
                    <a:ext uri="{FF2B5EF4-FFF2-40B4-BE49-F238E27FC236}">
                      <a16:creationId xmlns:a16="http://schemas.microsoft.com/office/drawing/2014/main" id="{AD5EE0A7-34F7-46D0-808A-9DFE8AFCF4AB}"/>
                    </a:ext>
                  </a:extLst>
                </p:cNvPr>
                <p:cNvCxnSpPr/>
                <p:nvPr/>
              </p:nvCxnSpPr>
              <p:spPr>
                <a:xfrm>
                  <a:off x="10379313" y="1552551"/>
                  <a:ext cx="0" cy="363453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441" name="Gruppieren 440">
                <a:extLst>
                  <a:ext uri="{FF2B5EF4-FFF2-40B4-BE49-F238E27FC236}">
                    <a16:creationId xmlns:a16="http://schemas.microsoft.com/office/drawing/2014/main" id="{C8B17EAF-7E32-40DA-B0DF-EE6577E16CF2}"/>
                  </a:ext>
                </a:extLst>
              </p:cNvPr>
              <p:cNvGrpSpPr/>
              <p:nvPr/>
            </p:nvGrpSpPr>
            <p:grpSpPr>
              <a:xfrm>
                <a:off x="5339796" y="1597104"/>
                <a:ext cx="113704" cy="830466"/>
                <a:chOff x="5339796" y="1597104"/>
                <a:chExt cx="113704" cy="830466"/>
              </a:xfrm>
            </p:grpSpPr>
            <p:cxnSp>
              <p:nvCxnSpPr>
                <p:cNvPr id="464" name="Gerader Verbinder 463">
                  <a:extLst>
                    <a:ext uri="{FF2B5EF4-FFF2-40B4-BE49-F238E27FC236}">
                      <a16:creationId xmlns:a16="http://schemas.microsoft.com/office/drawing/2014/main" id="{10630E14-18EA-4AC8-9B6B-38DABF8CF978}"/>
                    </a:ext>
                  </a:extLst>
                </p:cNvPr>
                <p:cNvCxnSpPr>
                  <a:stCxn id="475" idx="3"/>
                  <a:endCxn id="411" idx="7"/>
                </p:cNvCxnSpPr>
                <p:nvPr/>
              </p:nvCxnSpPr>
              <p:spPr>
                <a:xfrm flipH="1">
                  <a:off x="5339796" y="1597104"/>
                  <a:ext cx="95598" cy="82735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65" name="Gerader Verbinder 464">
                  <a:extLst>
                    <a:ext uri="{FF2B5EF4-FFF2-40B4-BE49-F238E27FC236}">
                      <a16:creationId xmlns:a16="http://schemas.microsoft.com/office/drawing/2014/main" id="{3C7E6C38-E87A-471D-A9CB-0B2CCBAFF08E}"/>
                    </a:ext>
                  </a:extLst>
                </p:cNvPr>
                <p:cNvCxnSpPr/>
                <p:nvPr/>
              </p:nvCxnSpPr>
              <p:spPr>
                <a:xfrm flipH="1">
                  <a:off x="5357902" y="2344835"/>
                  <a:ext cx="95598" cy="82735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442" name="Gerader Verbinder 441">
                <a:extLst>
                  <a:ext uri="{FF2B5EF4-FFF2-40B4-BE49-F238E27FC236}">
                    <a16:creationId xmlns:a16="http://schemas.microsoft.com/office/drawing/2014/main" id="{F303B360-06D8-4D9C-923B-015897ECD6E2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5990473" y="1597104"/>
                <a:ext cx="95598" cy="82735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3" name="Gerader Verbinder 442">
                <a:extLst>
                  <a:ext uri="{FF2B5EF4-FFF2-40B4-BE49-F238E27FC236}">
                    <a16:creationId xmlns:a16="http://schemas.microsoft.com/office/drawing/2014/main" id="{CA58D5BE-E988-43F3-8AA2-A74ABCB2F0EF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6008579" y="2344835"/>
                <a:ext cx="95598" cy="82735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4" name="Gerader Verbinder 443">
                <a:extLst>
                  <a:ext uri="{FF2B5EF4-FFF2-40B4-BE49-F238E27FC236}">
                    <a16:creationId xmlns:a16="http://schemas.microsoft.com/office/drawing/2014/main" id="{FB583519-CFBE-4759-B13A-8F40302AB423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6613530" y="1575883"/>
                <a:ext cx="95598" cy="82735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5" name="Gerader Verbinder 444">
                <a:extLst>
                  <a:ext uri="{FF2B5EF4-FFF2-40B4-BE49-F238E27FC236}">
                    <a16:creationId xmlns:a16="http://schemas.microsoft.com/office/drawing/2014/main" id="{8927EC2A-8D1B-41DF-997E-2DB887BB7ADB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6630225" y="2325491"/>
                <a:ext cx="95598" cy="82735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446" name="Gruppieren 445">
                <a:extLst>
                  <a:ext uri="{FF2B5EF4-FFF2-40B4-BE49-F238E27FC236}">
                    <a16:creationId xmlns:a16="http://schemas.microsoft.com/office/drawing/2014/main" id="{A5112B09-CE6B-447D-B1EE-28B2554C8B86}"/>
                  </a:ext>
                </a:extLst>
              </p:cNvPr>
              <p:cNvGrpSpPr/>
              <p:nvPr/>
            </p:nvGrpSpPr>
            <p:grpSpPr>
              <a:xfrm>
                <a:off x="7278614" y="1597104"/>
                <a:ext cx="113704" cy="830466"/>
                <a:chOff x="5339796" y="1597104"/>
                <a:chExt cx="113704" cy="830466"/>
              </a:xfrm>
            </p:grpSpPr>
            <p:cxnSp>
              <p:nvCxnSpPr>
                <p:cNvPr id="462" name="Gerader Verbinder 461">
                  <a:extLst>
                    <a:ext uri="{FF2B5EF4-FFF2-40B4-BE49-F238E27FC236}">
                      <a16:creationId xmlns:a16="http://schemas.microsoft.com/office/drawing/2014/main" id="{85FDFD3F-B010-4427-996A-16754A7DBFBD}"/>
                    </a:ext>
                  </a:extLst>
                </p:cNvPr>
                <p:cNvCxnSpPr/>
                <p:nvPr/>
              </p:nvCxnSpPr>
              <p:spPr>
                <a:xfrm flipH="1">
                  <a:off x="5339796" y="1597104"/>
                  <a:ext cx="95598" cy="82735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63" name="Gerader Verbinder 462">
                  <a:extLst>
                    <a:ext uri="{FF2B5EF4-FFF2-40B4-BE49-F238E27FC236}">
                      <a16:creationId xmlns:a16="http://schemas.microsoft.com/office/drawing/2014/main" id="{D06C43DE-9819-45F3-A7EF-722700D11F16}"/>
                    </a:ext>
                  </a:extLst>
                </p:cNvPr>
                <p:cNvCxnSpPr/>
                <p:nvPr/>
              </p:nvCxnSpPr>
              <p:spPr>
                <a:xfrm flipH="1">
                  <a:off x="5357902" y="2344835"/>
                  <a:ext cx="95598" cy="82735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447" name="Gruppieren 446">
                <a:extLst>
                  <a:ext uri="{FF2B5EF4-FFF2-40B4-BE49-F238E27FC236}">
                    <a16:creationId xmlns:a16="http://schemas.microsoft.com/office/drawing/2014/main" id="{C4A76556-A062-4FF1-B33C-19155AD3EE25}"/>
                  </a:ext>
                </a:extLst>
              </p:cNvPr>
              <p:cNvGrpSpPr/>
              <p:nvPr/>
            </p:nvGrpSpPr>
            <p:grpSpPr>
              <a:xfrm>
                <a:off x="7930145" y="1597104"/>
                <a:ext cx="113704" cy="830466"/>
                <a:chOff x="5339796" y="1597104"/>
                <a:chExt cx="113704" cy="830466"/>
              </a:xfrm>
            </p:grpSpPr>
            <p:cxnSp>
              <p:nvCxnSpPr>
                <p:cNvPr id="460" name="Gerader Verbinder 459">
                  <a:extLst>
                    <a:ext uri="{FF2B5EF4-FFF2-40B4-BE49-F238E27FC236}">
                      <a16:creationId xmlns:a16="http://schemas.microsoft.com/office/drawing/2014/main" id="{0A96CE31-7AA2-427F-B783-104333A957A1}"/>
                    </a:ext>
                  </a:extLst>
                </p:cNvPr>
                <p:cNvCxnSpPr/>
                <p:nvPr/>
              </p:nvCxnSpPr>
              <p:spPr>
                <a:xfrm flipH="1">
                  <a:off x="5339796" y="1597104"/>
                  <a:ext cx="95598" cy="82735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61" name="Gerader Verbinder 460">
                  <a:extLst>
                    <a:ext uri="{FF2B5EF4-FFF2-40B4-BE49-F238E27FC236}">
                      <a16:creationId xmlns:a16="http://schemas.microsoft.com/office/drawing/2014/main" id="{ED14CA5B-9CA3-4837-9356-F2B76A9A4C50}"/>
                    </a:ext>
                  </a:extLst>
                </p:cNvPr>
                <p:cNvCxnSpPr/>
                <p:nvPr/>
              </p:nvCxnSpPr>
              <p:spPr>
                <a:xfrm flipH="1">
                  <a:off x="5357902" y="2344835"/>
                  <a:ext cx="95598" cy="82735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448" name="Gruppieren 447">
                <a:extLst>
                  <a:ext uri="{FF2B5EF4-FFF2-40B4-BE49-F238E27FC236}">
                    <a16:creationId xmlns:a16="http://schemas.microsoft.com/office/drawing/2014/main" id="{2A00CEA0-A764-4688-8A37-49B2C107323E}"/>
                  </a:ext>
                </a:extLst>
              </p:cNvPr>
              <p:cNvGrpSpPr/>
              <p:nvPr/>
            </p:nvGrpSpPr>
            <p:grpSpPr>
              <a:xfrm>
                <a:off x="8564498" y="1597104"/>
                <a:ext cx="113704" cy="830466"/>
                <a:chOff x="5339796" y="1597104"/>
                <a:chExt cx="113704" cy="830466"/>
              </a:xfrm>
            </p:grpSpPr>
            <p:cxnSp>
              <p:nvCxnSpPr>
                <p:cNvPr id="458" name="Gerader Verbinder 457">
                  <a:extLst>
                    <a:ext uri="{FF2B5EF4-FFF2-40B4-BE49-F238E27FC236}">
                      <a16:creationId xmlns:a16="http://schemas.microsoft.com/office/drawing/2014/main" id="{7982E590-E43C-4E19-8122-14641247FD25}"/>
                    </a:ext>
                  </a:extLst>
                </p:cNvPr>
                <p:cNvCxnSpPr/>
                <p:nvPr/>
              </p:nvCxnSpPr>
              <p:spPr>
                <a:xfrm flipH="1">
                  <a:off x="5339796" y="1597104"/>
                  <a:ext cx="95598" cy="82735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59" name="Gerader Verbinder 458">
                  <a:extLst>
                    <a:ext uri="{FF2B5EF4-FFF2-40B4-BE49-F238E27FC236}">
                      <a16:creationId xmlns:a16="http://schemas.microsoft.com/office/drawing/2014/main" id="{E44B57C3-596A-41AE-B6D9-3CA4084D6876}"/>
                    </a:ext>
                  </a:extLst>
                </p:cNvPr>
                <p:cNvCxnSpPr/>
                <p:nvPr/>
              </p:nvCxnSpPr>
              <p:spPr>
                <a:xfrm flipH="1">
                  <a:off x="5357902" y="2344835"/>
                  <a:ext cx="95598" cy="82735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449" name="Gruppieren 448">
                <a:extLst>
                  <a:ext uri="{FF2B5EF4-FFF2-40B4-BE49-F238E27FC236}">
                    <a16:creationId xmlns:a16="http://schemas.microsoft.com/office/drawing/2014/main" id="{F1ED0EA7-1687-42EB-9370-4CB2AAF73C02}"/>
                  </a:ext>
                </a:extLst>
              </p:cNvPr>
              <p:cNvGrpSpPr/>
              <p:nvPr/>
            </p:nvGrpSpPr>
            <p:grpSpPr>
              <a:xfrm>
                <a:off x="9223880" y="1597104"/>
                <a:ext cx="113704" cy="830466"/>
                <a:chOff x="5339796" y="1597104"/>
                <a:chExt cx="113704" cy="830466"/>
              </a:xfrm>
            </p:grpSpPr>
            <p:cxnSp>
              <p:nvCxnSpPr>
                <p:cNvPr id="456" name="Gerader Verbinder 455">
                  <a:extLst>
                    <a:ext uri="{FF2B5EF4-FFF2-40B4-BE49-F238E27FC236}">
                      <a16:creationId xmlns:a16="http://schemas.microsoft.com/office/drawing/2014/main" id="{3768D46F-3481-4BF1-8560-E8DF5357E645}"/>
                    </a:ext>
                  </a:extLst>
                </p:cNvPr>
                <p:cNvCxnSpPr/>
                <p:nvPr/>
              </p:nvCxnSpPr>
              <p:spPr>
                <a:xfrm flipH="1">
                  <a:off x="5339796" y="1597104"/>
                  <a:ext cx="95598" cy="82735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57" name="Gerader Verbinder 456">
                  <a:extLst>
                    <a:ext uri="{FF2B5EF4-FFF2-40B4-BE49-F238E27FC236}">
                      <a16:creationId xmlns:a16="http://schemas.microsoft.com/office/drawing/2014/main" id="{E1E46B08-668E-4AA2-B0FE-4F9EA1691465}"/>
                    </a:ext>
                  </a:extLst>
                </p:cNvPr>
                <p:cNvCxnSpPr/>
                <p:nvPr/>
              </p:nvCxnSpPr>
              <p:spPr>
                <a:xfrm flipH="1">
                  <a:off x="5357902" y="2344835"/>
                  <a:ext cx="95598" cy="82735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450" name="Gruppieren 449">
                <a:extLst>
                  <a:ext uri="{FF2B5EF4-FFF2-40B4-BE49-F238E27FC236}">
                    <a16:creationId xmlns:a16="http://schemas.microsoft.com/office/drawing/2014/main" id="{4A130E40-DEC1-4B69-A0A3-C3D2762CCF83}"/>
                  </a:ext>
                </a:extLst>
              </p:cNvPr>
              <p:cNvGrpSpPr/>
              <p:nvPr/>
            </p:nvGrpSpPr>
            <p:grpSpPr>
              <a:xfrm>
                <a:off x="9848624" y="1597104"/>
                <a:ext cx="113704" cy="830466"/>
                <a:chOff x="5339796" y="1597104"/>
                <a:chExt cx="113704" cy="830466"/>
              </a:xfrm>
            </p:grpSpPr>
            <p:cxnSp>
              <p:nvCxnSpPr>
                <p:cNvPr id="454" name="Gerader Verbinder 453">
                  <a:extLst>
                    <a:ext uri="{FF2B5EF4-FFF2-40B4-BE49-F238E27FC236}">
                      <a16:creationId xmlns:a16="http://schemas.microsoft.com/office/drawing/2014/main" id="{9E030909-D4A3-483A-A1BF-0518836D46DD}"/>
                    </a:ext>
                  </a:extLst>
                </p:cNvPr>
                <p:cNvCxnSpPr/>
                <p:nvPr/>
              </p:nvCxnSpPr>
              <p:spPr>
                <a:xfrm flipH="1">
                  <a:off x="5339796" y="1597104"/>
                  <a:ext cx="95598" cy="82735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55" name="Gerader Verbinder 454">
                  <a:extLst>
                    <a:ext uri="{FF2B5EF4-FFF2-40B4-BE49-F238E27FC236}">
                      <a16:creationId xmlns:a16="http://schemas.microsoft.com/office/drawing/2014/main" id="{07A3487E-C13D-4DF0-B1D5-CBE4092039F2}"/>
                    </a:ext>
                  </a:extLst>
                </p:cNvPr>
                <p:cNvCxnSpPr/>
                <p:nvPr/>
              </p:nvCxnSpPr>
              <p:spPr>
                <a:xfrm flipH="1">
                  <a:off x="5357902" y="2344835"/>
                  <a:ext cx="95598" cy="82735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451" name="Gruppieren 450">
                <a:extLst>
                  <a:ext uri="{FF2B5EF4-FFF2-40B4-BE49-F238E27FC236}">
                    <a16:creationId xmlns:a16="http://schemas.microsoft.com/office/drawing/2014/main" id="{3E395953-051C-4675-B27F-81A7610D2B65}"/>
                  </a:ext>
                </a:extLst>
              </p:cNvPr>
              <p:cNvGrpSpPr/>
              <p:nvPr/>
            </p:nvGrpSpPr>
            <p:grpSpPr>
              <a:xfrm>
                <a:off x="10502461" y="1597104"/>
                <a:ext cx="113704" cy="830466"/>
                <a:chOff x="5339796" y="1597104"/>
                <a:chExt cx="113704" cy="830466"/>
              </a:xfrm>
            </p:grpSpPr>
            <p:cxnSp>
              <p:nvCxnSpPr>
                <p:cNvPr id="452" name="Gerader Verbinder 451">
                  <a:extLst>
                    <a:ext uri="{FF2B5EF4-FFF2-40B4-BE49-F238E27FC236}">
                      <a16:creationId xmlns:a16="http://schemas.microsoft.com/office/drawing/2014/main" id="{BBB4ACDE-BB8B-4329-9549-D000BC866EF9}"/>
                    </a:ext>
                  </a:extLst>
                </p:cNvPr>
                <p:cNvCxnSpPr/>
                <p:nvPr/>
              </p:nvCxnSpPr>
              <p:spPr>
                <a:xfrm flipH="1">
                  <a:off x="5339796" y="1597104"/>
                  <a:ext cx="95598" cy="82735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53" name="Gerader Verbinder 452">
                  <a:extLst>
                    <a:ext uri="{FF2B5EF4-FFF2-40B4-BE49-F238E27FC236}">
                      <a16:creationId xmlns:a16="http://schemas.microsoft.com/office/drawing/2014/main" id="{C725A06A-4CB7-49D8-897B-89DA53919B59}"/>
                    </a:ext>
                  </a:extLst>
                </p:cNvPr>
                <p:cNvCxnSpPr/>
                <p:nvPr/>
              </p:nvCxnSpPr>
              <p:spPr>
                <a:xfrm flipH="1">
                  <a:off x="5357902" y="2344835"/>
                  <a:ext cx="95598" cy="82735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cxnSp>
          <p:nvCxnSpPr>
            <p:cNvPr id="400" name="Gerader Verbinder 399">
              <a:extLst>
                <a:ext uri="{FF2B5EF4-FFF2-40B4-BE49-F238E27FC236}">
                  <a16:creationId xmlns:a16="http://schemas.microsoft.com/office/drawing/2014/main" id="{48C70E5D-AA8E-4F75-B37F-C4C0044A1DF9}"/>
                </a:ext>
              </a:extLst>
            </p:cNvPr>
            <p:cNvCxnSpPr>
              <a:cxnSpLocks/>
            </p:cNvCxnSpPr>
            <p:nvPr/>
          </p:nvCxnSpPr>
          <p:spPr>
            <a:xfrm>
              <a:off x="4987748" y="1567515"/>
              <a:ext cx="5513792" cy="0"/>
            </a:xfrm>
            <a:prstGeom prst="line">
              <a:avLst/>
            </a:prstGeom>
            <a:ln>
              <a:solidFill>
                <a:srgbClr val="FFC000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1" name="Gerader Verbinder 400">
              <a:extLst>
                <a:ext uri="{FF2B5EF4-FFF2-40B4-BE49-F238E27FC236}">
                  <a16:creationId xmlns:a16="http://schemas.microsoft.com/office/drawing/2014/main" id="{B334B056-E45F-4614-80EC-BB4121E5B056}"/>
                </a:ext>
              </a:extLst>
            </p:cNvPr>
            <p:cNvCxnSpPr>
              <a:cxnSpLocks/>
            </p:cNvCxnSpPr>
            <p:nvPr/>
          </p:nvCxnSpPr>
          <p:spPr>
            <a:xfrm>
              <a:off x="4987748" y="3251460"/>
              <a:ext cx="5513793" cy="0"/>
            </a:xfrm>
            <a:prstGeom prst="line">
              <a:avLst/>
            </a:prstGeom>
            <a:ln>
              <a:solidFill>
                <a:srgbClr val="FFC000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2" name="Rechteck 401">
              <a:extLst>
                <a:ext uri="{FF2B5EF4-FFF2-40B4-BE49-F238E27FC236}">
                  <a16:creationId xmlns:a16="http://schemas.microsoft.com/office/drawing/2014/main" id="{BD9813E0-122F-44C8-9F4F-7645198B5BD0}"/>
                </a:ext>
              </a:extLst>
            </p:cNvPr>
            <p:cNvSpPr/>
            <p:nvPr/>
          </p:nvSpPr>
          <p:spPr>
            <a:xfrm>
              <a:off x="4775725" y="1676514"/>
              <a:ext cx="210142" cy="1564657"/>
            </a:xfrm>
            <a:prstGeom prst="rect">
              <a:avLst/>
            </a:prstGeom>
            <a:solidFill>
              <a:srgbClr val="00549F"/>
            </a:solidFill>
            <a:ln>
              <a:solidFill>
                <a:srgbClr val="00549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cxnSp>
          <p:nvCxnSpPr>
            <p:cNvPr id="404" name="Gerader Verbinder 403">
              <a:extLst>
                <a:ext uri="{FF2B5EF4-FFF2-40B4-BE49-F238E27FC236}">
                  <a16:creationId xmlns:a16="http://schemas.microsoft.com/office/drawing/2014/main" id="{3D7B9AC0-39CE-43C9-88E0-D9D691479EBE}"/>
                </a:ext>
              </a:extLst>
            </p:cNvPr>
            <p:cNvCxnSpPr/>
            <p:nvPr/>
          </p:nvCxnSpPr>
          <p:spPr>
            <a:xfrm>
              <a:off x="4987748" y="1567515"/>
              <a:ext cx="0" cy="1683945"/>
            </a:xfrm>
            <a:prstGeom prst="line">
              <a:avLst/>
            </a:prstGeom>
            <a:ln>
              <a:solidFill>
                <a:srgbClr val="FFC000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5" name="Rechteck 404">
              <a:extLst>
                <a:ext uri="{FF2B5EF4-FFF2-40B4-BE49-F238E27FC236}">
                  <a16:creationId xmlns:a16="http://schemas.microsoft.com/office/drawing/2014/main" id="{6956A27E-82A6-4623-9D31-21D3D975DBC4}"/>
                </a:ext>
              </a:extLst>
            </p:cNvPr>
            <p:cNvSpPr/>
            <p:nvPr/>
          </p:nvSpPr>
          <p:spPr>
            <a:xfrm>
              <a:off x="10504976" y="1676514"/>
              <a:ext cx="210142" cy="1564657"/>
            </a:xfrm>
            <a:prstGeom prst="rect">
              <a:avLst/>
            </a:prstGeom>
            <a:solidFill>
              <a:srgbClr val="00549F"/>
            </a:solidFill>
            <a:ln>
              <a:solidFill>
                <a:srgbClr val="00549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cxnSp>
          <p:nvCxnSpPr>
            <p:cNvPr id="406" name="Gerader Verbinder 405">
              <a:extLst>
                <a:ext uri="{FF2B5EF4-FFF2-40B4-BE49-F238E27FC236}">
                  <a16:creationId xmlns:a16="http://schemas.microsoft.com/office/drawing/2014/main" id="{2C4B7E95-AEDD-4ADD-A9D3-04E7B2A6752F}"/>
                </a:ext>
              </a:extLst>
            </p:cNvPr>
            <p:cNvCxnSpPr/>
            <p:nvPr/>
          </p:nvCxnSpPr>
          <p:spPr>
            <a:xfrm>
              <a:off x="10501540" y="1567515"/>
              <a:ext cx="0" cy="1683945"/>
            </a:xfrm>
            <a:prstGeom prst="line">
              <a:avLst/>
            </a:prstGeom>
            <a:ln>
              <a:solidFill>
                <a:srgbClr val="FFC000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493" name="Grafik 492" descr="Glühbirne">
            <a:extLst>
              <a:ext uri="{FF2B5EF4-FFF2-40B4-BE49-F238E27FC236}">
                <a16:creationId xmlns:a16="http://schemas.microsoft.com/office/drawing/2014/main" id="{9A2C46CA-3E6F-4293-B0F4-B87C6C3FA465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186169" y="2084097"/>
            <a:ext cx="271720" cy="271720"/>
          </a:xfrm>
          <a:prstGeom prst="rect">
            <a:avLst/>
          </a:prstGeom>
        </p:spPr>
      </p:pic>
      <p:pic>
        <p:nvPicPr>
          <p:cNvPr id="494" name="Grafik 493" descr="Glühbirne">
            <a:extLst>
              <a:ext uri="{FF2B5EF4-FFF2-40B4-BE49-F238E27FC236}">
                <a16:creationId xmlns:a16="http://schemas.microsoft.com/office/drawing/2014/main" id="{EFB378C3-0D76-45D5-9EAE-C98370014E84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086164" y="2084097"/>
            <a:ext cx="271720" cy="271720"/>
          </a:xfrm>
          <a:prstGeom prst="rect">
            <a:avLst/>
          </a:prstGeom>
        </p:spPr>
      </p:pic>
      <p:sp>
        <p:nvSpPr>
          <p:cNvPr id="389" name="Freihandform: Form 388">
            <a:extLst>
              <a:ext uri="{FF2B5EF4-FFF2-40B4-BE49-F238E27FC236}">
                <a16:creationId xmlns:a16="http://schemas.microsoft.com/office/drawing/2014/main" id="{B512924D-701D-4EA9-B629-1FF633BFA84E}"/>
              </a:ext>
            </a:extLst>
          </p:cNvPr>
          <p:cNvSpPr/>
          <p:nvPr/>
        </p:nvSpPr>
        <p:spPr>
          <a:xfrm>
            <a:off x="2256183" y="427381"/>
            <a:ext cx="2782956" cy="2892287"/>
          </a:xfrm>
          <a:custGeom>
            <a:avLst/>
            <a:gdLst>
              <a:gd name="connsiteX0" fmla="*/ 19878 w 2782956"/>
              <a:gd name="connsiteY0" fmla="*/ 904461 h 2892287"/>
              <a:gd name="connsiteX1" fmla="*/ 2782956 w 2782956"/>
              <a:gd name="connsiteY1" fmla="*/ 0 h 2892287"/>
              <a:gd name="connsiteX2" fmla="*/ 2773017 w 2782956"/>
              <a:gd name="connsiteY2" fmla="*/ 2892287 h 2892287"/>
              <a:gd name="connsiteX3" fmla="*/ 0 w 2782956"/>
              <a:gd name="connsiteY3" fmla="*/ 1272209 h 2892287"/>
              <a:gd name="connsiteX4" fmla="*/ 129208 w 2782956"/>
              <a:gd name="connsiteY4" fmla="*/ 1192696 h 2892287"/>
              <a:gd name="connsiteX5" fmla="*/ 149087 w 2782956"/>
              <a:gd name="connsiteY5" fmla="*/ 1113183 h 2892287"/>
              <a:gd name="connsiteX6" fmla="*/ 149087 w 2782956"/>
              <a:gd name="connsiteY6" fmla="*/ 1033670 h 2892287"/>
              <a:gd name="connsiteX7" fmla="*/ 99391 w 2782956"/>
              <a:gd name="connsiteY7" fmla="*/ 993913 h 2892287"/>
              <a:gd name="connsiteX8" fmla="*/ 19878 w 2782956"/>
              <a:gd name="connsiteY8" fmla="*/ 904461 h 28922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782956" h="2892287">
                <a:moveTo>
                  <a:pt x="19878" y="904461"/>
                </a:moveTo>
                <a:lnTo>
                  <a:pt x="2782956" y="0"/>
                </a:lnTo>
                <a:lnTo>
                  <a:pt x="2773017" y="2892287"/>
                </a:lnTo>
                <a:lnTo>
                  <a:pt x="0" y="1272209"/>
                </a:lnTo>
                <a:lnTo>
                  <a:pt x="129208" y="1192696"/>
                </a:lnTo>
                <a:lnTo>
                  <a:pt x="149087" y="1113183"/>
                </a:lnTo>
                <a:lnTo>
                  <a:pt x="149087" y="1033670"/>
                </a:lnTo>
                <a:lnTo>
                  <a:pt x="99391" y="993913"/>
                </a:lnTo>
                <a:lnTo>
                  <a:pt x="19878" y="904461"/>
                </a:lnTo>
                <a:close/>
              </a:path>
            </a:pathLst>
          </a:custGeom>
          <a:solidFill>
            <a:srgbClr val="FFC000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168195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DB2FCD68-BD01-42AA-8C0E-8528FA70B16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7" name="think-cell Folie" r:id="rId5" imgW="425" imgH="424" progId="TCLayout.ActiveDocument.1">
                  <p:embed/>
                </p:oleObj>
              </mc:Choice>
              <mc:Fallback>
                <p:oleObj name="think-cell Folie" r:id="rId5" imgW="425" imgH="42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DB2FCD68-BD01-42AA-8C0E-8528FA70B1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Grafik 1">
            <a:extLst>
              <a:ext uri="{FF2B5EF4-FFF2-40B4-BE49-F238E27FC236}">
                <a16:creationId xmlns:a16="http://schemas.microsoft.com/office/drawing/2014/main" id="{3E844BD0-7A53-75B8-CA22-4EA3E7A4B1DE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174" t="6795" r="31957" b="39360"/>
          <a:stretch/>
        </p:blipFill>
        <p:spPr>
          <a:xfrm>
            <a:off x="0" y="0"/>
            <a:ext cx="10947922" cy="6858000"/>
          </a:xfrm>
          <a:prstGeom prst="rect">
            <a:avLst/>
          </a:prstGeom>
        </p:spPr>
      </p:pic>
      <p:sp>
        <p:nvSpPr>
          <p:cNvPr id="3" name="Rectangle 246">
            <a:extLst>
              <a:ext uri="{FF2B5EF4-FFF2-40B4-BE49-F238E27FC236}">
                <a16:creationId xmlns:a16="http://schemas.microsoft.com/office/drawing/2014/main" id="{C2CD47FB-5BC6-5C3C-DBB6-0CEC1E924426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10887075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de-DE"/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D91F3A8E-DF52-6FD2-62FF-55E6412BD514}"/>
              </a:ext>
            </a:extLst>
          </p:cNvPr>
          <p:cNvSpPr/>
          <p:nvPr/>
        </p:nvSpPr>
        <p:spPr>
          <a:xfrm>
            <a:off x="0" y="-1"/>
            <a:ext cx="10947922" cy="6868743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10" name="Rectangle 246">
            <a:extLst>
              <a:ext uri="{FF2B5EF4-FFF2-40B4-BE49-F238E27FC236}">
                <a16:creationId xmlns:a16="http://schemas.microsoft.com/office/drawing/2014/main" id="{741D5BCA-5CD1-4E72-9C6B-7BF8A554E22C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10887075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de-DE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A30E5461-2710-4276-8B3A-28A6EDA8E508}"/>
              </a:ext>
            </a:extLst>
          </p:cNvPr>
          <p:cNvSpPr txBox="1"/>
          <p:nvPr/>
        </p:nvSpPr>
        <p:spPr>
          <a:xfrm>
            <a:off x="-1" y="1563556"/>
            <a:ext cx="5068957" cy="1015663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r>
              <a:rPr lang="en-US" sz="6000" b="1" dirty="0">
                <a:solidFill>
                  <a:schemeClr val="bg1"/>
                </a:solidFill>
                <a:latin typeface="Helvetica" panose="020B0604020202020204" pitchFamily="34" charset="0"/>
              </a:rPr>
              <a:t>		</a:t>
            </a:r>
            <a:r>
              <a:rPr lang="en-US" sz="5400" b="1" dirty="0">
                <a:solidFill>
                  <a:schemeClr val="bg1"/>
                </a:solidFill>
                <a:latin typeface="Helvetica" panose="020B0604020202020204" pitchFamily="34" charset="0"/>
              </a:rPr>
              <a:t>Backup</a:t>
            </a:r>
            <a:endParaRPr lang="en-US" sz="6000" b="1" dirty="0">
              <a:solidFill>
                <a:schemeClr val="bg1"/>
              </a:solidFill>
              <a:latin typeface="Helvetica" panose="020B0604020202020204" pitchFamily="34" charset="0"/>
            </a:endParaRPr>
          </a:p>
        </p:txBody>
      </p:sp>
      <p:pic>
        <p:nvPicPr>
          <p:cNvPr id="247" name="Grafik 246" descr="Büroklammer">
            <a:extLst>
              <a:ext uri="{FF2B5EF4-FFF2-40B4-BE49-F238E27FC236}">
                <a16:creationId xmlns:a16="http://schemas.microsoft.com/office/drawing/2014/main" id="{D7D9C9D3-06CA-4F30-AA89-1D16398B5C3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01967" y="1614187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06743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6"/>
  <p:tag name="EE4P_TEMPLATEMASTER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40715_Powerpointvorlage_institute">
  <a:themeElements>
    <a:clrScheme name="RWTH Farben">
      <a:dk1>
        <a:sysClr val="windowText" lastClr="000000"/>
      </a:dk1>
      <a:lt1>
        <a:sysClr val="window" lastClr="FFFFFF"/>
      </a:lt1>
      <a:dk2>
        <a:srgbClr val="00549F"/>
      </a:dk2>
      <a:lt2>
        <a:srgbClr val="8EBAE5"/>
      </a:lt2>
      <a:accent1>
        <a:srgbClr val="006165"/>
      </a:accent1>
      <a:accent2>
        <a:srgbClr val="0098A1"/>
      </a:accent2>
      <a:accent3>
        <a:srgbClr val="57AB27"/>
      </a:accent3>
      <a:accent4>
        <a:srgbClr val="BDCD00"/>
      </a:accent4>
      <a:accent5>
        <a:srgbClr val="F6A800"/>
      </a:accent5>
      <a:accent6>
        <a:srgbClr val="CC071E"/>
      </a:accent6>
      <a:hlink>
        <a:srgbClr val="612158"/>
      </a:hlink>
      <a:folHlink>
        <a:srgbClr val="7A6FA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äsentation_Master_RWTH_Institute_addin.potm" id="{0837BC49-7264-48C2-AAF5-DCA3DFDD7462}" vid="{6CDB8236-988B-4A45-A262-D5656478FE2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räsentation_Master_RWTH_Institute_ohne_addin</Template>
  <TotalTime>0</TotalTime>
  <Words>377</Words>
  <Application>Microsoft Office PowerPoint</Application>
  <PresentationFormat>Custom</PresentationFormat>
  <Paragraphs>57</Paragraphs>
  <Slides>9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9" baseType="lpstr">
      <vt:lpstr>MS PGothic</vt:lpstr>
      <vt:lpstr>Arial</vt:lpstr>
      <vt:lpstr>Calibri</vt:lpstr>
      <vt:lpstr>Helvetica</vt:lpstr>
      <vt:lpstr>Symbol</vt:lpstr>
      <vt:lpstr>Times New Roman</vt:lpstr>
      <vt:lpstr>TKTypeMedium</vt:lpstr>
      <vt:lpstr>Wingdings</vt:lpstr>
      <vt:lpstr>140715_Powerpointvorlage_institute</vt:lpstr>
      <vt:lpstr>think-cell Folie</vt:lpstr>
      <vt:lpstr>Title </vt:lpstr>
      <vt:lpstr>Timeline: PhD / post doc</vt:lpstr>
      <vt:lpstr>PowerPoint Presentation</vt:lpstr>
      <vt:lpstr>Context: Overview of projects on the interfacial bond formation with PC</vt:lpstr>
      <vt:lpstr>Binding energies for interacting PC dimer are calculated </vt:lpstr>
      <vt:lpstr>… more results</vt:lpstr>
      <vt:lpstr>         Lesson(s) learnt…</vt:lpstr>
      <vt:lpstr>PowerPoint Presentation</vt:lpstr>
      <vt:lpstr>PowerPoint Presentation</vt:lpstr>
    </vt:vector>
  </TitlesOfParts>
  <Company>MCh, RWTH Aachen Universit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Friederike Wittmers</dc:creator>
  <cp:lastModifiedBy>Michal Fecik</cp:lastModifiedBy>
  <cp:revision>170</cp:revision>
  <cp:lastPrinted>2021-01-04T13:47:56Z</cp:lastPrinted>
  <dcterms:created xsi:type="dcterms:W3CDTF">2015-05-20T12:33:55Z</dcterms:created>
  <dcterms:modified xsi:type="dcterms:W3CDTF">2024-09-18T13:51:27Z</dcterms:modified>
</cp:coreProperties>
</file>